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10"/>
  </p:notesMasterIdLst>
  <p:sldIdLst>
    <p:sldId id="282" r:id="rId3"/>
    <p:sldId id="265" r:id="rId4"/>
    <p:sldId id="263" r:id="rId5"/>
    <p:sldId id="287" r:id="rId6"/>
    <p:sldId id="299" r:id="rId7"/>
    <p:sldId id="301" r:id="rId8"/>
    <p:sldId id="290" r:id="rId9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5D59"/>
    <a:srgbClr val="F8B2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25" autoAdjust="0"/>
    <p:restoredTop sz="94660"/>
  </p:normalViewPr>
  <p:slideViewPr>
    <p:cSldViewPr>
      <p:cViewPr varScale="1">
        <p:scale>
          <a:sx n="144" d="100"/>
          <a:sy n="144" d="100"/>
        </p:scale>
        <p:origin x="840" y="11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EFCF8-DBAB-433D-8DAB-EE3DED044812}" type="datetimeFigureOut">
              <a:rPr lang="zh-CN" altLang="en-US" smtClean="0"/>
              <a:t>2019/12/3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DC8F24-0A32-4807-B9BD-77973754F87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9567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4027" y="8685561"/>
            <a:ext cx="2972421" cy="45689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51" tIns="45726" rIns="91451" bIns="45726"/>
          <a:lstStyle>
            <a:lvl1pPr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25639" indent="-279092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16368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562915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09463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456010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02557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349104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795652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50BFE4EE-643E-48EB-98A1-24A7240165A6}" type="slidenum">
              <a:rPr lang="en-US" altLang="zh-CN" sz="1200">
                <a:solidFill>
                  <a:srgbClr val="000000"/>
                </a:solidFill>
                <a:latin typeface="Calibri" pitchFamily="34" charset="0"/>
              </a:rPr>
              <a:pPr/>
              <a:t>1</a:t>
            </a:fld>
            <a:endParaRPr lang="en-US" altLang="zh-CN" sz="1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044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5763" y="687388"/>
            <a:ext cx="6086475" cy="3424237"/>
          </a:xfrm>
          <a:ln/>
        </p:spPr>
      </p:sp>
      <p:sp>
        <p:nvSpPr>
          <p:cNvPr id="1044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51" tIns="45726" rIns="91451" bIns="45726"/>
          <a:lstStyle/>
          <a:p>
            <a:pPr eaLnBrk="1" hangingPunct="1">
              <a:spcBef>
                <a:spcPct val="0"/>
              </a:spcBef>
            </a:pPr>
            <a:endParaRPr lang="zh-CN" altLang="zh-CN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DC8F24-0A32-4807-B9BD-77973754F878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93372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547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1054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25639" indent="-279092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16368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562915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09463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456010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02557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349104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795652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0E31BE63-EF1D-475D-86D9-DEE8AFDE8CDC}" type="slidenum">
              <a:rPr lang="zh-CN" altLang="en-US" sz="1200">
                <a:solidFill>
                  <a:prstClr val="black"/>
                </a:solidFill>
              </a:rPr>
              <a:pPr/>
              <a:t>3</a:t>
            </a:fld>
            <a:endParaRPr lang="zh-CN" altLang="en-US" sz="120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4213"/>
            <a:ext cx="6097588" cy="3429000"/>
          </a:xfrm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zh-CN" smtClean="0"/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25639" indent="-279092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16368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562915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09463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456010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02557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349104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795652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BBB19E26-7F07-4F08-BC84-DE5A1E5F51ED}" type="slidenum">
              <a:rPr lang="en-US" altLang="zh-CN" sz="1200">
                <a:solidFill>
                  <a:srgbClr val="000000"/>
                </a:solidFill>
              </a:rPr>
              <a:pPr/>
              <a:t>4</a:t>
            </a:fld>
            <a:endParaRPr lang="en-US" altLang="zh-CN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4213"/>
            <a:ext cx="6097588" cy="3429000"/>
          </a:xfrm>
          <a:ln/>
        </p:spPr>
      </p:sp>
      <p:sp>
        <p:nvSpPr>
          <p:cNvPr id="931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zh-CN" smtClean="0"/>
          </a:p>
        </p:txBody>
      </p:sp>
      <p:sp>
        <p:nvSpPr>
          <p:cNvPr id="931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25639" indent="-279092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16368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562915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09463" indent="-223274" defTabSz="914802"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456010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02557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349104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795652" indent="-223274" defTabSz="91480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B69E74F5-B878-4AD9-AF67-27A8468A3F9A}" type="slidenum">
              <a:rPr lang="en-US" altLang="zh-CN" sz="1200">
                <a:solidFill>
                  <a:srgbClr val="000000"/>
                </a:solidFill>
              </a:rPr>
              <a:pPr/>
              <a:t>7</a:t>
            </a:fld>
            <a:endParaRPr lang="en-US" altLang="zh-CN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5.v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8.bin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474176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itle, Large Graphic &amp; 1/3 page Text Left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39" y="1045445"/>
            <a:ext cx="2482099" cy="3109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29102" y="176418"/>
            <a:ext cx="2473509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28"/>
          </p:nvPr>
        </p:nvSpPr>
        <p:spPr>
          <a:xfrm>
            <a:off x="305712" y="1523937"/>
            <a:ext cx="2482826" cy="3166134"/>
          </a:xfrm>
        </p:spPr>
        <p:txBody>
          <a:bodyPr>
            <a:normAutofit/>
          </a:bodyPr>
          <a:lstStyle>
            <a:lvl1pPr marL="116864" indent="-116864">
              <a:defRPr sz="1200">
                <a:solidFill>
                  <a:schemeClr val="tx1"/>
                </a:solidFill>
              </a:defRPr>
            </a:lvl1pPr>
            <a:lvl2pPr marL="216464" indent="-99533">
              <a:defRPr sz="1000">
                <a:solidFill>
                  <a:schemeClr val="tx1"/>
                </a:solidFill>
              </a:defRPr>
            </a:lvl2pPr>
            <a:lvl3pPr marL="310017" indent="-87726">
              <a:tabLst/>
              <a:defRPr sz="900">
                <a:solidFill>
                  <a:schemeClr val="tx1"/>
                </a:solidFill>
              </a:defRPr>
            </a:lvl3pPr>
            <a:lvl4pPr marL="245631" indent="-122816">
              <a:defRPr sz="1000">
                <a:solidFill>
                  <a:schemeClr val="tx1"/>
                </a:solidFill>
              </a:defRPr>
            </a:lvl4pPr>
            <a:lvl5pPr marL="380353" indent="-14628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29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5984AFD-6C5B-412D-A742-5707F74C3C8B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11878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 Title, Large Graphic &amp; 1/2 page Text Left 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39" y="1045712"/>
            <a:ext cx="3565304" cy="271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29102" y="176418"/>
            <a:ext cx="3542642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28"/>
          </p:nvPr>
        </p:nvSpPr>
        <p:spPr>
          <a:xfrm>
            <a:off x="305713" y="1523937"/>
            <a:ext cx="3566031" cy="3166134"/>
          </a:xfrm>
        </p:spPr>
        <p:txBody>
          <a:bodyPr>
            <a:normAutofit/>
          </a:bodyPr>
          <a:lstStyle>
            <a:lvl1pPr marL="116864" indent="-116864">
              <a:defRPr sz="1200">
                <a:solidFill>
                  <a:schemeClr val="tx1"/>
                </a:solidFill>
              </a:defRPr>
            </a:lvl1pPr>
            <a:lvl2pPr marL="216464" indent="-99533">
              <a:defRPr sz="1000">
                <a:solidFill>
                  <a:schemeClr val="tx1"/>
                </a:solidFill>
              </a:defRPr>
            </a:lvl2pPr>
            <a:lvl3pPr marL="310017" indent="-87726">
              <a:tabLst/>
              <a:defRPr sz="900">
                <a:solidFill>
                  <a:schemeClr val="tx1"/>
                </a:solidFill>
              </a:defRPr>
            </a:lvl3pPr>
            <a:lvl4pPr marL="245631" indent="-122816">
              <a:defRPr sz="1000">
                <a:solidFill>
                  <a:schemeClr val="tx1"/>
                </a:solidFill>
              </a:defRPr>
            </a:lvl4pPr>
            <a:lvl5pPr marL="380353" indent="-14628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29"/>
          </p:nvPr>
        </p:nvSpPr>
        <p:spPr>
          <a:xfrm>
            <a:off x="4424517" y="453436"/>
            <a:ext cx="4285898" cy="4236641"/>
          </a:xfrm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30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E1B5099-42E9-4CD7-A882-4FFD993D0927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1313329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, Large Graphic &amp; 1/3 page Text Right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39" y="1045445"/>
            <a:ext cx="8410418" cy="3109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29461" y="176418"/>
            <a:ext cx="8381313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8"/>
          </p:nvPr>
        </p:nvSpPr>
        <p:spPr>
          <a:xfrm>
            <a:off x="305712" y="1523937"/>
            <a:ext cx="2482826" cy="3166134"/>
          </a:xfrm>
        </p:spPr>
        <p:txBody>
          <a:bodyPr>
            <a:normAutofit/>
          </a:bodyPr>
          <a:lstStyle>
            <a:lvl1pPr marL="116864" indent="-116864">
              <a:defRPr sz="1200">
                <a:solidFill>
                  <a:schemeClr val="tx1"/>
                </a:solidFill>
              </a:defRPr>
            </a:lvl1pPr>
            <a:lvl2pPr marL="216464" indent="-99533">
              <a:defRPr sz="1000">
                <a:solidFill>
                  <a:schemeClr val="tx1"/>
                </a:solidFill>
              </a:defRPr>
            </a:lvl2pPr>
            <a:lvl3pPr marL="310017" indent="-87726">
              <a:tabLst/>
              <a:defRPr sz="900">
                <a:solidFill>
                  <a:schemeClr val="tx1"/>
                </a:solidFill>
              </a:defRPr>
            </a:lvl3pPr>
            <a:lvl4pPr marL="245631" indent="-122816">
              <a:defRPr sz="1000">
                <a:solidFill>
                  <a:schemeClr val="tx1"/>
                </a:solidFill>
              </a:defRPr>
            </a:lvl4pPr>
            <a:lvl5pPr marL="380353" indent="-14628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29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CEF0CD1-39BF-46F6-AB78-A6363DC8B9A8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78131985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, Large Graphic &amp; 1/2 page Text Left 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39" y="1045445"/>
            <a:ext cx="8410418" cy="3109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329461" y="176418"/>
            <a:ext cx="8381313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28"/>
          </p:nvPr>
        </p:nvSpPr>
        <p:spPr>
          <a:xfrm>
            <a:off x="305714" y="1523937"/>
            <a:ext cx="4254625" cy="3166134"/>
          </a:xfrm>
        </p:spPr>
        <p:txBody>
          <a:bodyPr>
            <a:normAutofit/>
          </a:bodyPr>
          <a:lstStyle>
            <a:lvl1pPr marL="116864" indent="-116864">
              <a:defRPr sz="1200">
                <a:solidFill>
                  <a:schemeClr val="tx1"/>
                </a:solidFill>
              </a:defRPr>
            </a:lvl1pPr>
            <a:lvl2pPr marL="216464" indent="-99533">
              <a:defRPr sz="1000">
                <a:solidFill>
                  <a:schemeClr val="tx1"/>
                </a:solidFill>
              </a:defRPr>
            </a:lvl2pPr>
            <a:lvl3pPr marL="310017" indent="-87726">
              <a:tabLst/>
              <a:defRPr sz="900">
                <a:solidFill>
                  <a:schemeClr val="tx1"/>
                </a:solidFill>
              </a:defRPr>
            </a:lvl3pPr>
            <a:lvl4pPr marL="245631" indent="-122816">
              <a:defRPr sz="1000">
                <a:solidFill>
                  <a:schemeClr val="tx1"/>
                </a:solidFill>
              </a:defRPr>
            </a:lvl4pPr>
            <a:lvl5pPr marL="380353" indent="-14628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29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C0D5F0-4E3E-423D-BF80-2AA3FE870A42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549936039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font Title and Bullet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6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16293" y="1032175"/>
            <a:ext cx="8383981" cy="4810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5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297307" y="1736849"/>
            <a:ext cx="8413108" cy="2953493"/>
          </a:xfrm>
        </p:spPr>
        <p:txBody>
          <a:bodyPr/>
          <a:lstStyle>
            <a:lvl1pPr marL="0" indent="0">
              <a:buNone/>
              <a:defRPr sz="2300">
                <a:solidFill>
                  <a:schemeClr val="tx1"/>
                </a:solidFill>
              </a:defRPr>
            </a:lvl1pPr>
            <a:lvl2pPr marL="171666" indent="-171666">
              <a:spcBef>
                <a:spcPts val="375"/>
              </a:spcBef>
              <a:spcAft>
                <a:spcPts val="375"/>
              </a:spcAft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2pPr>
            <a:lvl3pPr marL="284690" indent="-111013">
              <a:spcBef>
                <a:spcPts val="0"/>
              </a:spcBef>
              <a:spcAft>
                <a:spcPts val="375"/>
              </a:spcAft>
              <a:buSzPct val="8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8678" y="197331"/>
            <a:ext cx="8391167" cy="857250"/>
          </a:xfrm>
        </p:spPr>
        <p:txBody>
          <a:bodyPr>
            <a:normAutofit/>
          </a:bodyPr>
          <a:lstStyle>
            <a:lvl1pPr>
              <a:defRPr sz="3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7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AA9B0A-40FB-4CC8-98DF-F0B4AFF9FBFF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26743822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- With Caption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97446" y="1458522"/>
            <a:ext cx="8759031" cy="3497463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01959" y="827997"/>
            <a:ext cx="7135678" cy="486608"/>
          </a:xfrm>
        </p:spPr>
        <p:txBody>
          <a:bodyPr lIns="0" rIns="0" anchor="b">
            <a:noAutofit/>
          </a:bodyPr>
          <a:lstStyle>
            <a:lvl1pPr marL="0" indent="0">
              <a:lnSpc>
                <a:spcPct val="90000"/>
              </a:lnSpc>
              <a:spcBef>
                <a:spcPts val="313"/>
              </a:spcBef>
              <a:buNone/>
              <a:defRPr sz="2500" i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313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ub Heading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6"/>
          </p:nvPr>
        </p:nvSpPr>
        <p:spPr>
          <a:xfrm>
            <a:off x="80814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299912662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1 Photos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144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41" y="1517436"/>
            <a:ext cx="2963121" cy="271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29102" y="608153"/>
            <a:ext cx="2944286" cy="857250"/>
          </a:xfrm>
        </p:spPr>
        <p:txBody>
          <a:bodyPr>
            <a:no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3468688" y="453436"/>
            <a:ext cx="5241726" cy="4236641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06071" y="1956243"/>
            <a:ext cx="2967677" cy="2864796"/>
          </a:xfrm>
        </p:spPr>
        <p:txBody>
          <a:bodyPr>
            <a:normAutofit/>
          </a:bodyPr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03319" indent="-103319">
              <a:defRPr sz="1200">
                <a:solidFill>
                  <a:schemeClr val="tx1"/>
                </a:solidFill>
              </a:defRPr>
            </a:lvl2pPr>
            <a:lvl3pPr marL="215493" indent="-111908">
              <a:tabLst/>
              <a:defRPr sz="1200">
                <a:solidFill>
                  <a:schemeClr val="tx1"/>
                </a:solidFill>
              </a:defRPr>
            </a:lvl3pPr>
            <a:lvl4pPr marL="269113" indent="-122816">
              <a:defRPr sz="1300">
                <a:solidFill>
                  <a:schemeClr val="tx1"/>
                </a:solidFill>
              </a:defRPr>
            </a:lvl4pPr>
            <a:lvl5pPr marL="415339" indent="-15203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19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75AF6F4-7FB7-4FEF-9323-AA15D9E2344A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764307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2 Photos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169693" y="457844"/>
            <a:ext cx="2540721" cy="4114473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41" y="1517436"/>
            <a:ext cx="2963121" cy="271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29102" y="608153"/>
            <a:ext cx="2944286" cy="857250"/>
          </a:xfrm>
        </p:spPr>
        <p:txBody>
          <a:bodyPr>
            <a:noAutofit/>
          </a:bodyPr>
          <a:lstStyle>
            <a:lvl1pPr>
              <a:defRPr sz="2500"/>
            </a:lvl1pPr>
          </a:lstStyle>
          <a:p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3468688" y="453437"/>
            <a:ext cx="2540721" cy="4114473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3468688" y="4567903"/>
            <a:ext cx="2540722" cy="265906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lang="en-US" sz="700" i="0" kern="1200" dirty="0">
                <a:solidFill>
                  <a:schemeClr val="tx1"/>
                </a:solidFill>
                <a:latin typeface="Suisse Int'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6169693" y="4567903"/>
            <a:ext cx="2540721" cy="265906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lang="en-US" sz="700" i="0" kern="1200" dirty="0">
                <a:solidFill>
                  <a:schemeClr val="tx1"/>
                </a:solidFill>
                <a:latin typeface="Suisse Int'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06071" y="1956243"/>
            <a:ext cx="2967677" cy="2864796"/>
          </a:xfrm>
        </p:spPr>
        <p:txBody>
          <a:bodyPr>
            <a:normAutofit/>
          </a:bodyPr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03319" indent="-103319">
              <a:defRPr sz="1200">
                <a:solidFill>
                  <a:schemeClr val="tx1"/>
                </a:solidFill>
              </a:defRPr>
            </a:lvl2pPr>
            <a:lvl3pPr marL="215493" indent="-111908">
              <a:tabLst/>
              <a:defRPr sz="1200">
                <a:solidFill>
                  <a:schemeClr val="tx1"/>
                </a:solidFill>
              </a:defRPr>
            </a:lvl3pPr>
            <a:lvl4pPr marL="269113" indent="-122816">
              <a:defRPr sz="1300">
                <a:solidFill>
                  <a:schemeClr val="tx1"/>
                </a:solidFill>
              </a:defRPr>
            </a:lvl4pPr>
            <a:lvl5pPr marL="415339" indent="-15203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24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30E78E2-D8CD-46CF-AE39-F04D41B229C8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03626860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3 Photos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35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41" y="1517436"/>
            <a:ext cx="2963121" cy="271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29102" y="608153"/>
            <a:ext cx="2944286" cy="857250"/>
          </a:xfrm>
        </p:spPr>
        <p:txBody>
          <a:bodyPr>
            <a:no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3468687" y="453430"/>
            <a:ext cx="3083719" cy="397073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715127" y="453434"/>
            <a:ext cx="1995289" cy="190098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6715127" y="2523182"/>
            <a:ext cx="1995289" cy="190098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3468687" y="4424166"/>
            <a:ext cx="3083719" cy="265906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spcAft>
                <a:spcPts val="188"/>
              </a:spcAft>
              <a:buNone/>
              <a:defRPr sz="700">
                <a:latin typeface="Suisse Int'l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6715127" y="4424166"/>
            <a:ext cx="1995289" cy="265906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spcAft>
                <a:spcPts val="188"/>
              </a:spcAft>
              <a:buNone/>
              <a:defRPr sz="700">
                <a:latin typeface="Suisse Int'l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06071" y="1956243"/>
            <a:ext cx="2967677" cy="2864796"/>
          </a:xfrm>
        </p:spPr>
        <p:txBody>
          <a:bodyPr>
            <a:normAutofit/>
          </a:bodyPr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03319" indent="-103319">
              <a:defRPr sz="1200">
                <a:solidFill>
                  <a:schemeClr val="tx1"/>
                </a:solidFill>
              </a:defRPr>
            </a:lvl2pPr>
            <a:lvl3pPr marL="215493" indent="-111908">
              <a:tabLst/>
              <a:defRPr sz="1200">
                <a:solidFill>
                  <a:schemeClr val="tx1"/>
                </a:solidFill>
              </a:defRPr>
            </a:lvl3pPr>
            <a:lvl4pPr marL="269113" indent="-122816">
              <a:defRPr sz="1300">
                <a:solidFill>
                  <a:schemeClr val="tx1"/>
                </a:solidFill>
              </a:defRPr>
            </a:lvl4pPr>
            <a:lvl5pPr marL="415339" indent="-15203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23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C97B641-FF62-4DC6-86C6-756A9ABA91ED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89504761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3 Horizontal  Photos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ct 10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78051" y="1596839"/>
            <a:ext cx="2632364" cy="2975530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29102" y="611411"/>
            <a:ext cx="2762194" cy="857250"/>
          </a:xfrm>
        </p:spPr>
        <p:txBody>
          <a:bodyPr>
            <a:no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3255818" y="1592433"/>
            <a:ext cx="2632364" cy="2975530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3255818" y="4567903"/>
            <a:ext cx="2540722" cy="265906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lang="en-US" sz="700" i="0" kern="1200" dirty="0">
                <a:solidFill>
                  <a:schemeClr val="tx1"/>
                </a:solidFill>
                <a:latin typeface="Suisse Int'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6078051" y="4567903"/>
            <a:ext cx="2540721" cy="265906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lang="en-US" sz="700" i="0" kern="1200" dirty="0">
                <a:solidFill>
                  <a:schemeClr val="tx1"/>
                </a:solidFill>
                <a:latin typeface="Suisse Int'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3586" y="1597339"/>
            <a:ext cx="2632364" cy="297056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433587" y="4567903"/>
            <a:ext cx="2657709" cy="265906"/>
          </a:xfr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None/>
              <a:defRPr lang="en-US" sz="700" i="0" kern="1200" dirty="0">
                <a:solidFill>
                  <a:schemeClr val="tx1"/>
                </a:solidFill>
                <a:latin typeface="Suisse Int'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178209" y="269204"/>
            <a:ext cx="2709975" cy="1199459"/>
          </a:xfrm>
        </p:spPr>
        <p:txBody>
          <a:bodyPr anchor="b">
            <a:normAutofit/>
          </a:bodyPr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03319" indent="-103319">
              <a:defRPr sz="1200">
                <a:solidFill>
                  <a:schemeClr val="tx1"/>
                </a:solidFill>
              </a:defRPr>
            </a:lvl2pPr>
            <a:lvl3pPr marL="215493" indent="-111908">
              <a:tabLst/>
              <a:defRPr sz="1200">
                <a:solidFill>
                  <a:schemeClr val="tx1"/>
                </a:solidFill>
              </a:defRPr>
            </a:lvl3pPr>
            <a:lvl4pPr marL="269113" indent="-122816">
              <a:defRPr sz="1300">
                <a:solidFill>
                  <a:schemeClr val="tx1"/>
                </a:solidFill>
              </a:defRPr>
            </a:lvl4pPr>
            <a:lvl5pPr marL="415339" indent="-15203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26"/>
          </p:nvPr>
        </p:nvSpPr>
        <p:spPr>
          <a:xfrm>
            <a:off x="5993383" y="269204"/>
            <a:ext cx="2717031" cy="1199459"/>
          </a:xfrm>
        </p:spPr>
        <p:txBody>
          <a:bodyPr anchor="b">
            <a:normAutofit/>
          </a:bodyPr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03319" indent="-103319">
              <a:defRPr sz="1200">
                <a:solidFill>
                  <a:schemeClr val="tx1"/>
                </a:solidFill>
              </a:defRPr>
            </a:lvl2pPr>
            <a:lvl3pPr marL="215493" indent="-111908">
              <a:tabLst/>
              <a:defRPr sz="1200">
                <a:solidFill>
                  <a:schemeClr val="tx1"/>
                </a:solidFill>
              </a:defRPr>
            </a:lvl3pPr>
            <a:lvl4pPr marL="269113" indent="-122816">
              <a:defRPr sz="1300">
                <a:solidFill>
                  <a:schemeClr val="tx1"/>
                </a:solidFill>
              </a:defRPr>
            </a:lvl4pPr>
            <a:lvl5pPr marL="415339" indent="-15203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27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A5FFF1F-468C-4646-8A79-732DAE5FEAA0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3232929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1" y="274836"/>
            <a:ext cx="1317625" cy="742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180"/>
          <a:stretch>
            <a:fillRect/>
          </a:stretch>
        </p:blipFill>
        <p:spPr bwMode="auto">
          <a:xfrm>
            <a:off x="7619009" y="425649"/>
            <a:ext cx="1118195" cy="344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38033" y="1514946"/>
            <a:ext cx="7183916" cy="1385794"/>
          </a:xfrm>
        </p:spPr>
        <p:txBody>
          <a:bodyPr lIns="56207" tIns="28026" rIns="56207" bIns="28026" rtlCol="0">
            <a:noAutofit/>
          </a:bodyPr>
          <a:lstStyle>
            <a:lvl1pPr>
              <a:lnSpc>
                <a:spcPct val="80000"/>
              </a:lnSpc>
              <a:defRPr lang="en-US" sz="5600" spc="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82155" y="2838442"/>
            <a:ext cx="7260803" cy="591487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buNone/>
              <a:defRPr lang="en-US" sz="5600" kern="1200" spc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41930" algn="l">
              <a:lnSpc>
                <a:spcPct val="90000"/>
              </a:lnSpc>
              <a:buNone/>
              <a:defRPr sz="1800" i="1">
                <a:solidFill>
                  <a:schemeClr val="tx1">
                    <a:tint val="75000"/>
                  </a:schemeClr>
                </a:solidFill>
              </a:defRPr>
            </a:lvl2pPr>
            <a:lvl3pPr marL="801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2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05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05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06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07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12851" y="4534563"/>
            <a:ext cx="3947287" cy="345281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174487" indent="0">
              <a:buNone/>
              <a:defRPr/>
            </a:lvl2pPr>
            <a:lvl3pPr marL="387128" indent="0">
              <a:buNone/>
              <a:defRPr/>
            </a:lvl3pPr>
            <a:lvl4pPr marL="241664" indent="0">
              <a:buFont typeface="Arial" panose="020B0604020202020204" pitchFamily="34" charset="0"/>
              <a:buNone/>
              <a:defRPr/>
            </a:lvl4pPr>
            <a:lvl5pPr marL="455262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799362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&amp; 6 Horizontal  Photos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7652" y="168999"/>
            <a:ext cx="8431396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3944" y="1235276"/>
            <a:ext cx="2641023" cy="1622226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433944" y="3048001"/>
            <a:ext cx="2641023" cy="162475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3251678" y="1235276"/>
            <a:ext cx="2641023" cy="1622226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251678" y="3048001"/>
            <a:ext cx="2641023" cy="162475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069751" y="1235276"/>
            <a:ext cx="2641023" cy="1622226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069751" y="3048001"/>
            <a:ext cx="2641023" cy="162475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25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60DD993-9AE3-4730-A461-A8AD2FD31568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6388625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&amp; 2 Horizontal  Photos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7652" y="168999"/>
            <a:ext cx="8431396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3587" y="1235545"/>
            <a:ext cx="4060482" cy="2514113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649933" y="1235545"/>
            <a:ext cx="4060482" cy="2514113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05711" y="3845278"/>
            <a:ext cx="4188356" cy="963414"/>
          </a:xfrm>
        </p:spPr>
        <p:txBody>
          <a:bodyPr>
            <a:normAutofit/>
          </a:bodyPr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03319" indent="-103319">
              <a:defRPr sz="1200">
                <a:solidFill>
                  <a:schemeClr val="tx1"/>
                </a:solidFill>
              </a:defRPr>
            </a:lvl2pPr>
            <a:lvl3pPr marL="215493" indent="-111908">
              <a:tabLst/>
              <a:defRPr sz="1200">
                <a:solidFill>
                  <a:schemeClr val="tx1"/>
                </a:solidFill>
              </a:defRPr>
            </a:lvl3pPr>
            <a:lvl4pPr marL="269113" indent="-122816">
              <a:defRPr sz="1300">
                <a:solidFill>
                  <a:schemeClr val="tx1"/>
                </a:solidFill>
              </a:defRPr>
            </a:lvl4pPr>
            <a:lvl5pPr marL="415339" indent="-15203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4535633" y="3845278"/>
            <a:ext cx="4188356" cy="963414"/>
          </a:xfrm>
        </p:spPr>
        <p:txBody>
          <a:bodyPr>
            <a:normAutofit/>
          </a:bodyPr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03319" indent="-103319">
              <a:defRPr sz="1200">
                <a:solidFill>
                  <a:schemeClr val="tx1"/>
                </a:solidFill>
              </a:defRPr>
            </a:lvl2pPr>
            <a:lvl3pPr marL="215493" indent="-111908">
              <a:tabLst/>
              <a:defRPr sz="1200">
                <a:solidFill>
                  <a:schemeClr val="tx1"/>
                </a:solidFill>
              </a:defRPr>
            </a:lvl3pPr>
            <a:lvl4pPr marL="269113" indent="-122816">
              <a:defRPr sz="1300">
                <a:solidFill>
                  <a:schemeClr val="tx1"/>
                </a:solidFill>
              </a:defRPr>
            </a:lvl4pPr>
            <a:lvl5pPr marL="415339" indent="-152033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23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55CF7B1-5B50-4AF1-A0B9-6FF28FB344A5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07612634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844" y="274836"/>
            <a:ext cx="1317625" cy="742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180"/>
          <a:stretch>
            <a:fillRect/>
          </a:stretch>
        </p:blipFill>
        <p:spPr bwMode="auto">
          <a:xfrm>
            <a:off x="7619009" y="425649"/>
            <a:ext cx="1118195" cy="344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38392" y="1503644"/>
            <a:ext cx="5254477" cy="3380384"/>
          </a:xfrm>
        </p:spPr>
        <p:txBody>
          <a:bodyPr lIns="56207" tIns="28026" rIns="56207" bIns="28026" rtlCol="0" anchor="t">
            <a:normAutofit/>
          </a:bodyPr>
          <a:lstStyle>
            <a:lvl1pPr>
              <a:lnSpc>
                <a:spcPct val="80000"/>
              </a:lnSpc>
              <a:defRPr lang="en-US" sz="5600" spc="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zh-CN" altLang="en-US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5037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SLIDE DOC - TITLE &amp; TEX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06466" y="1503340"/>
            <a:ext cx="2963121" cy="271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5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204" indent="0">
              <a:buNone/>
              <a:defRPr sz="1900" b="1"/>
            </a:lvl2pPr>
            <a:lvl3pPr marL="894375" indent="0">
              <a:buNone/>
              <a:defRPr sz="1800" b="1"/>
            </a:lvl3pPr>
            <a:lvl4pPr marL="1341579" indent="0">
              <a:buNone/>
              <a:defRPr sz="1600" b="1"/>
            </a:lvl4pPr>
            <a:lvl5pPr marL="1788771" indent="0">
              <a:buNone/>
              <a:defRPr sz="1600" b="1"/>
            </a:lvl5pPr>
            <a:lvl6pPr marL="2235961" indent="0">
              <a:buNone/>
              <a:defRPr sz="1600" b="1"/>
            </a:lvl6pPr>
            <a:lvl7pPr marL="2683145" indent="0">
              <a:buNone/>
              <a:defRPr sz="1600" b="1"/>
            </a:lvl7pPr>
            <a:lvl8pPr marL="3130372" indent="0">
              <a:buNone/>
              <a:defRPr sz="1600" b="1"/>
            </a:lvl8pPr>
            <a:lvl9pPr marL="3577516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29102" y="608153"/>
            <a:ext cx="2944286" cy="857250"/>
          </a:xfrm>
        </p:spPr>
        <p:txBody>
          <a:bodyPr>
            <a:noAutofit/>
          </a:bodyPr>
          <a:lstStyle>
            <a:lvl1pPr>
              <a:defRPr sz="34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3468688" y="453436"/>
            <a:ext cx="5241726" cy="4236641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306143" y="1956243"/>
            <a:ext cx="2967677" cy="2864796"/>
          </a:xfrm>
        </p:spPr>
        <p:txBody>
          <a:bodyPr>
            <a:normAutofit/>
          </a:bodyPr>
          <a:lstStyle>
            <a:lvl1pPr marL="139772" indent="-139772">
              <a:defRPr sz="1500">
                <a:solidFill>
                  <a:schemeClr val="tx1"/>
                </a:solidFill>
              </a:defRPr>
            </a:lvl1pPr>
            <a:lvl2pPr marL="256347" indent="-110578">
              <a:defRPr sz="1300">
                <a:solidFill>
                  <a:schemeClr val="tx1"/>
                </a:solidFill>
              </a:defRPr>
            </a:lvl2pPr>
            <a:lvl3pPr marL="390141" indent="-122248">
              <a:tabLst/>
              <a:defRPr sz="1200">
                <a:solidFill>
                  <a:schemeClr val="tx1"/>
                </a:solidFill>
              </a:defRPr>
            </a:lvl3pPr>
            <a:lvl4pPr marL="267862" indent="-122248">
              <a:defRPr sz="1300">
                <a:solidFill>
                  <a:schemeClr val="tx1"/>
                </a:solidFill>
              </a:defRPr>
            </a:lvl4pPr>
            <a:lvl5pPr marL="413453" indent="-151324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3649667" y="4099808"/>
            <a:ext cx="2540722" cy="458063"/>
          </a:xfrm>
        </p:spPr>
        <p:txBody>
          <a:bodyPr lIns="0" anchor="b">
            <a:noAutofit/>
          </a:bodyPr>
          <a:lstStyle>
            <a:lvl1pPr marL="0" indent="0">
              <a:spcBef>
                <a:spcPts val="0"/>
              </a:spcBef>
              <a:buNone/>
              <a:defRPr lang="en-US" sz="700" i="0" kern="1200" dirty="0">
                <a:solidFill>
                  <a:schemeClr val="bg1"/>
                </a:solidFill>
                <a:latin typeface="Suisse Int'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22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ED4093D-5842-429A-A15E-4C062BFDE3E0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05665426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Hotel Image w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>
          <a:xfrm flipH="1">
            <a:off x="216302" y="256977"/>
            <a:ext cx="8725297" cy="0"/>
          </a:xfrm>
          <a:prstGeom prst="line">
            <a:avLst/>
          </a:prstGeom>
          <a:ln w="1270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27997" y="94258"/>
            <a:ext cx="4618633" cy="178594"/>
          </a:xfrm>
          <a:prstGeom prst="rect">
            <a:avLst/>
          </a:prstGeom>
          <a:noFill/>
        </p:spPr>
        <p:txBody>
          <a:bodyPr lIns="89378" tIns="44758" rIns="89378" bIns="44758" anchor="b"/>
          <a:lstStyle>
            <a:lvl1pPr defTabSz="727075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727075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727075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727075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727075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7270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7270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7270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7270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600" smtClean="0">
              <a:solidFill>
                <a:srgbClr val="413931"/>
              </a:solidFill>
              <a:latin typeface="St Regis Sabon Pro Bold"/>
              <a:ea typeface="St Regis Sabon Pro Bold"/>
              <a:cs typeface="St Regis Sabon Pro Bold"/>
            </a:endParaRPr>
          </a:p>
        </p:txBody>
      </p:sp>
      <p:grpSp>
        <p:nvGrpSpPr>
          <p:cNvPr id="8" name="Group 14"/>
          <p:cNvGrpSpPr>
            <a:grpSpLocks/>
          </p:cNvGrpSpPr>
          <p:nvPr userDrawn="1"/>
        </p:nvGrpSpPr>
        <p:grpSpPr bwMode="auto">
          <a:xfrm>
            <a:off x="216298" y="942579"/>
            <a:ext cx="8727281" cy="80368"/>
            <a:chOff x="424182" y="1729168"/>
            <a:chExt cx="13747086" cy="127742"/>
          </a:xfrm>
        </p:grpSpPr>
        <p:cxnSp>
          <p:nvCxnSpPr>
            <p:cNvPr id="9" name="Straight Connector 8"/>
            <p:cNvCxnSpPr/>
            <p:nvPr userDrawn="1"/>
          </p:nvCxnSpPr>
          <p:spPr>
            <a:xfrm flipH="1">
              <a:off x="424182" y="1729168"/>
              <a:ext cx="13747086" cy="0"/>
            </a:xfrm>
            <a:prstGeom prst="line">
              <a:avLst/>
            </a:prstGeom>
            <a:ln w="3175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H="1">
              <a:off x="424182" y="1856910"/>
              <a:ext cx="13747086" cy="0"/>
            </a:xfrm>
            <a:prstGeom prst="line">
              <a:avLst/>
            </a:prstGeom>
            <a:ln w="3175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9144000" cy="5143500"/>
          </a:xfrm>
          <a:solidFill>
            <a:srgbClr val="7F7F7F"/>
          </a:solidFill>
          <a:ln>
            <a:noFill/>
          </a:ln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200893" y="4640892"/>
            <a:ext cx="8734227" cy="353786"/>
          </a:xfrm>
        </p:spPr>
        <p:txBody>
          <a:bodyPr>
            <a:noAutofit/>
          </a:bodyPr>
          <a:lstStyle>
            <a:lvl1pPr algn="r">
              <a:lnSpc>
                <a:spcPct val="130000"/>
              </a:lnSpc>
              <a:spcAft>
                <a:spcPts val="0"/>
              </a:spcAft>
              <a:defRPr sz="1200" cap="all">
                <a:solidFill>
                  <a:schemeClr val="bg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0428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73556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zh-CN" alt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404" y="4767461"/>
            <a:ext cx="2133203" cy="27384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5BE7CAD-DAD2-4FB8-9CF6-E87D71962B6D}" type="datetimeFigureOut">
              <a:rPr lang="zh-CN" altLang="en-US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019/12/3</a:t>
            </a:fld>
            <a:endParaRPr lang="zh-CN" alt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404" y="4767461"/>
            <a:ext cx="2895203" cy="27384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404" y="4767461"/>
            <a:ext cx="2133203" cy="27384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321B805-A89E-4F3A-A0DD-5B8FCA87C8B4}" type="slidenum">
              <a:rPr lang="zh-CN" altLang="en-US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zh-CN" altLang="en-US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8720848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- Section Break Text Only">
    <p:bg>
      <p:bgPr>
        <a:solidFill>
          <a:srgbClr val="E1DE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407994" y="294156"/>
            <a:ext cx="4660186" cy="1896251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marR="0" indent="0" algn="l" defTabSz="898439" rtl="0" eaLnBrk="1" fontAlgn="auto" latinLnBrk="0" hangingPunct="1">
              <a:lnSpc>
                <a:spcPct val="7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dirty="0" smtClean="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2"/>
          </p:nvPr>
        </p:nvSpPr>
        <p:spPr bwMode="gray">
          <a:xfrm>
            <a:off x="407994" y="2183081"/>
            <a:ext cx="4666489" cy="40957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lang="en-US" sz="1800" i="1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37256685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- Section Brea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69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97446" y="174627"/>
            <a:ext cx="8759031" cy="4781352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407996" y="643931"/>
            <a:ext cx="3600671" cy="1013781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marR="0" indent="0" algn="l" defTabSz="898439" rtl="0" eaLnBrk="1" fontAlgn="auto" latinLnBrk="0" hangingPunct="1">
              <a:lnSpc>
                <a:spcPct val="7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400" dirty="0" smtClean="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/>
          </p:nvPr>
        </p:nvSpPr>
        <p:spPr bwMode="gray">
          <a:xfrm>
            <a:off x="407994" y="1650386"/>
            <a:ext cx="4666489" cy="40957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None/>
              <a:defRPr lang="en-US" sz="1800" i="1" kern="1200" cap="none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33753" y="4352670"/>
            <a:ext cx="4649391" cy="381993"/>
          </a:xfrm>
        </p:spPr>
        <p:txBody>
          <a:bodyPr lIns="0" rIns="0" anchor="b">
            <a:noAutofit/>
          </a:bodyPr>
          <a:lstStyle>
            <a:lvl1pPr marL="0" indent="0" algn="l" defTabSz="801993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lang="en-US" sz="800" i="0" kern="1200" dirty="0" smtClean="0">
                <a:solidFill>
                  <a:schemeClr val="bg1"/>
                </a:solidFill>
                <a:latin typeface="Suisse Int'l" pitchFamily="34" charset="0"/>
                <a:ea typeface="+mn-ea"/>
                <a:cs typeface="+mn-cs"/>
              </a:defRPr>
            </a:lvl1pPr>
            <a:lvl2pPr marL="0" indent="0" algn="l" defTabSz="801993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lang="en-US" sz="800" i="0" kern="1200" dirty="0" smtClean="0">
                <a:solidFill>
                  <a:schemeClr val="bg1"/>
                </a:solidFill>
                <a:latin typeface="Suisse Int'l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078748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Photo - Section Brea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782909" y="174627"/>
            <a:ext cx="6173927" cy="4781352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407994" y="662746"/>
            <a:ext cx="2196548" cy="1054961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marR="0" indent="0" algn="l" defTabSz="898439" rtl="0" eaLnBrk="1" fontAlgn="auto" latinLnBrk="0" hangingPunct="1">
              <a:lnSpc>
                <a:spcPct val="7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400" dirty="0" smtClean="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/>
          </p:nvPr>
        </p:nvSpPr>
        <p:spPr bwMode="gray">
          <a:xfrm>
            <a:off x="407995" y="1727072"/>
            <a:ext cx="2037276" cy="97184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lnSpc>
                <a:spcPct val="90000"/>
              </a:lnSpc>
              <a:buNone/>
              <a:defRPr lang="en-US" sz="1800" i="1" kern="1200" cap="none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094506" y="4352670"/>
            <a:ext cx="4649391" cy="381993"/>
          </a:xfrm>
        </p:spPr>
        <p:txBody>
          <a:bodyPr lIns="0" rIns="0" anchor="b">
            <a:noAutofit/>
          </a:bodyPr>
          <a:lstStyle>
            <a:lvl1pPr marL="0" indent="0" algn="l" defTabSz="801993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lang="en-US" sz="800" i="0" kern="1200" dirty="0" smtClean="0">
                <a:solidFill>
                  <a:schemeClr val="bg1"/>
                </a:solidFill>
                <a:latin typeface="Suisse Int'l" pitchFamily="34" charset="0"/>
                <a:ea typeface="+mn-ea"/>
                <a:cs typeface="+mn-cs"/>
              </a:defRPr>
            </a:lvl1pPr>
            <a:lvl2pPr marL="0" indent="0" algn="l" defTabSz="801993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lang="en-US" sz="800" i="0" kern="1200" dirty="0" smtClean="0">
                <a:solidFill>
                  <a:schemeClr val="bg1"/>
                </a:solidFill>
                <a:latin typeface="Suisse Int'l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9732582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37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97446" y="174626"/>
            <a:ext cx="8759031" cy="4781354"/>
          </a:xfrm>
          <a:solidFill>
            <a:schemeClr val="accent1"/>
          </a:solidFill>
        </p:spPr>
        <p:txBody>
          <a:bodyPr rtlCol="0">
            <a:normAutofit/>
          </a:bodyPr>
          <a:lstStyle/>
          <a:p>
            <a:pPr lvl="0"/>
            <a:endParaRPr lang="en-US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33753" y="4352670"/>
            <a:ext cx="4649391" cy="381993"/>
          </a:xfrm>
        </p:spPr>
        <p:txBody>
          <a:bodyPr lIns="0" rIns="0" anchor="b">
            <a:noAutofit/>
          </a:bodyPr>
          <a:lstStyle>
            <a:lvl1pPr marL="0" indent="0" algn="l" defTabSz="801993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lang="en-US" sz="800" i="0" kern="1200" dirty="0" smtClean="0">
                <a:solidFill>
                  <a:schemeClr val="bg1"/>
                </a:solidFill>
                <a:latin typeface="Suisse Int'l" pitchFamily="34" charset="0"/>
                <a:ea typeface="+mn-ea"/>
                <a:cs typeface="+mn-cs"/>
              </a:defRPr>
            </a:lvl1pPr>
            <a:lvl2pPr marL="0" indent="0" algn="l" defTabSz="801993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lang="en-US" sz="800" i="0" kern="1200" dirty="0" smtClean="0">
                <a:solidFill>
                  <a:schemeClr val="bg1"/>
                </a:solidFill>
                <a:latin typeface="Suisse Int'l" pitchFamily="34" charset="0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8128632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06440" y="225815"/>
            <a:ext cx="8404852" cy="1861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2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295296" y="568258"/>
            <a:ext cx="8383547" cy="477951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+mj-lt"/>
              <a:buNone/>
              <a:tabLst>
                <a:tab pos="3581718" algn="l"/>
              </a:tabLst>
              <a:defRPr sz="3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303620" y="1515712"/>
            <a:ext cx="3599283" cy="3364660"/>
          </a:xfrm>
        </p:spPr>
        <p:txBody>
          <a:bodyPr>
            <a:normAutofit/>
          </a:bodyPr>
          <a:lstStyle>
            <a:lvl1pPr marL="0" indent="0">
              <a:spcBef>
                <a:spcPts val="750"/>
              </a:spcBef>
              <a:buNone/>
              <a:defRPr sz="13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30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3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4086019" y="1515712"/>
            <a:ext cx="3574570" cy="3364660"/>
          </a:xfrm>
        </p:spPr>
        <p:txBody>
          <a:bodyPr>
            <a:normAutofit/>
          </a:bodyPr>
          <a:lstStyle>
            <a:lvl1pPr marL="0" indent="0">
              <a:spcBef>
                <a:spcPts val="750"/>
              </a:spcBef>
              <a:buNone/>
              <a:defRPr sz="13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3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lang="en-US" sz="23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707728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14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329102" y="172222"/>
            <a:ext cx="8046119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6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0DEF16E-5FB8-4C17-99A7-875ADC54BDBB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36439774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Large Graphic &amp; Text Right - Slide D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6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310225" y="1045712"/>
            <a:ext cx="8068782" cy="2715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1300" i="1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329461" y="176418"/>
            <a:ext cx="8381313" cy="857250"/>
          </a:xfrm>
        </p:spPr>
        <p:txBody>
          <a:bodyPr>
            <a:normAutofit/>
          </a:bodyPr>
          <a:lstStyle>
            <a:lvl1pPr>
              <a:defRPr sz="25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582106" y="1524003"/>
            <a:ext cx="2128311" cy="3374341"/>
          </a:xfrm>
        </p:spPr>
        <p:txBody>
          <a:bodyPr>
            <a:normAutofit/>
          </a:bodyPr>
          <a:lstStyle>
            <a:lvl1pPr marL="140361" indent="-140361">
              <a:defRPr sz="1200">
                <a:solidFill>
                  <a:schemeClr val="tx1"/>
                </a:solidFill>
              </a:defRPr>
            </a:lvl1pPr>
            <a:lvl2pPr marL="248608" indent="-108248">
              <a:defRPr sz="1000">
                <a:solidFill>
                  <a:schemeClr val="tx1"/>
                </a:solidFill>
              </a:defRPr>
            </a:lvl2pPr>
            <a:lvl3pPr marL="349997" indent="-101408">
              <a:defRPr sz="900">
                <a:solidFill>
                  <a:schemeClr val="tx1"/>
                </a:solidFill>
              </a:defRPr>
            </a:lvl3pPr>
            <a:lvl4pPr marL="248608" indent="-110161">
              <a:defRPr sz="1000">
                <a:solidFill>
                  <a:schemeClr val="tx1"/>
                </a:solidFill>
              </a:defRPr>
            </a:lvl4pPr>
            <a:lvl5pPr marL="369439" indent="-122816"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316293" y="134101"/>
            <a:ext cx="4244044" cy="1691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lang="en-US" sz="600" b="0" i="0" kern="1200" cap="none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9209" indent="0">
              <a:buNone/>
              <a:defRPr sz="1900" b="1"/>
            </a:lvl2pPr>
            <a:lvl3pPr marL="898439" indent="0">
              <a:buNone/>
              <a:defRPr sz="1800" b="1"/>
            </a:lvl3pPr>
            <a:lvl4pPr marL="1347630" indent="0">
              <a:buNone/>
              <a:defRPr sz="1600" b="1"/>
            </a:lvl4pPr>
            <a:lvl5pPr marL="1796914" indent="0">
              <a:buNone/>
              <a:defRPr sz="1600" b="1"/>
            </a:lvl5pPr>
            <a:lvl6pPr marL="2246160" indent="0">
              <a:buNone/>
              <a:defRPr sz="1600" b="1"/>
            </a:lvl6pPr>
            <a:lvl7pPr marL="2695334" indent="0">
              <a:buNone/>
              <a:defRPr sz="1600" b="1"/>
            </a:lvl7pPr>
            <a:lvl8pPr marL="3144583" indent="0">
              <a:buNone/>
              <a:defRPr sz="1600" b="1"/>
            </a:lvl8pPr>
            <a:lvl9pPr marL="3593808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17"/>
          </p:nvPr>
        </p:nvSpPr>
        <p:spPr>
          <a:xfrm>
            <a:off x="6648649" y="4763492"/>
            <a:ext cx="2134195" cy="273844"/>
          </a:xfrm>
          <a:prstGeom prst="rect">
            <a:avLst/>
          </a:prstGeom>
        </p:spPr>
        <p:txBody>
          <a:bodyPr vert="horz" wrap="square" lIns="56207" tIns="28026" rIns="56207" bIns="28026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8CE9F41-F7BD-428B-A188-6A85368F16AF}" type="slidenum">
              <a:rPr lang="en-US" altLang="zh-CN">
                <a:solidFill>
                  <a:srgbClr val="000000"/>
                </a:solidFill>
                <a:latin typeface="Arial" pitchFamily="34" charset="0"/>
                <a:ea typeface="宋体" pitchFamily="2" charset="-122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>
              <a:solidFill>
                <a:srgbClr val="000000"/>
              </a:solidFill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6419730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hape 2"/>
          <p:cNvSpPr>
            <a:spLocks noGrp="1"/>
          </p:cNvSpPr>
          <p:nvPr>
            <p:ph type="title"/>
          </p:nvPr>
        </p:nvSpPr>
        <p:spPr bwMode="auto">
          <a:xfrm>
            <a:off x="633017" y="357188"/>
            <a:ext cx="7877969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zh-CN" smtClean="0">
                <a:sym typeface="Helvetica Light"/>
              </a:rPr>
              <a:t>Title Text</a:t>
            </a:r>
          </a:p>
        </p:txBody>
      </p:sp>
      <p:sp>
        <p:nvSpPr>
          <p:cNvPr id="4099" name="Shape 3"/>
          <p:cNvSpPr>
            <a:spLocks noGrp="1"/>
          </p:cNvSpPr>
          <p:nvPr>
            <p:ph type="body" idx="1"/>
          </p:nvPr>
        </p:nvSpPr>
        <p:spPr bwMode="auto">
          <a:xfrm>
            <a:off x="633017" y="1214441"/>
            <a:ext cx="7877969" cy="345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zh-CN" smtClean="0">
                <a:sym typeface="Helvetica Light"/>
              </a:rPr>
              <a:t>Body Level One</a:t>
            </a:r>
          </a:p>
          <a:p>
            <a:pPr lvl="1"/>
            <a:r>
              <a:rPr lang="zh-CN" altLang="zh-CN" smtClean="0">
                <a:sym typeface="Helvetica Light"/>
              </a:rPr>
              <a:t>Body Level Two</a:t>
            </a:r>
          </a:p>
          <a:p>
            <a:pPr lvl="2"/>
            <a:r>
              <a:rPr lang="zh-CN" altLang="zh-CN" smtClean="0">
                <a:sym typeface="Helvetica Light"/>
              </a:rPr>
              <a:t>Body Level Three</a:t>
            </a:r>
          </a:p>
          <a:p>
            <a:pPr lvl="3"/>
            <a:r>
              <a:rPr lang="zh-CN" altLang="zh-CN" smtClean="0">
                <a:sym typeface="Helvetica Light"/>
              </a:rPr>
              <a:t>Body Level Four</a:t>
            </a:r>
          </a:p>
          <a:p>
            <a:pPr lvl="4"/>
            <a:r>
              <a:rPr lang="zh-CN" altLang="zh-CN" smtClean="0">
                <a:sym typeface="Helvetica Light"/>
              </a:rP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554737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transition spd="med"/>
  <p:txStyles>
    <p:titleStyle>
      <a:lvl1pPr algn="ctr" defTabSz="2698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+mn-lt"/>
          <a:ea typeface="+mn-ea"/>
          <a:cs typeface="+mn-cs"/>
          <a:sym typeface="Helvetica Light"/>
        </a:defRPr>
      </a:lvl1pPr>
      <a:lvl2pPr algn="ctr" defTabSz="2698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+mn-lt"/>
          <a:ea typeface="+mn-ea"/>
          <a:cs typeface="+mn-cs"/>
          <a:sym typeface="Helvetica Light"/>
        </a:defRPr>
      </a:lvl2pPr>
      <a:lvl3pPr algn="ctr" defTabSz="2698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+mn-lt"/>
          <a:ea typeface="+mn-ea"/>
          <a:cs typeface="+mn-cs"/>
          <a:sym typeface="Helvetica Light"/>
        </a:defRPr>
      </a:lvl3pPr>
      <a:lvl4pPr algn="ctr" defTabSz="2698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+mn-lt"/>
          <a:ea typeface="+mn-ea"/>
          <a:cs typeface="+mn-cs"/>
          <a:sym typeface="Helvetica Light"/>
        </a:defRPr>
      </a:lvl4pPr>
      <a:lvl5pPr algn="ctr" defTabSz="269875" rtl="0" eaLnBrk="0" fontAlgn="base" hangingPunct="0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+mn-lt"/>
          <a:ea typeface="+mn-ea"/>
          <a:cs typeface="+mn-cs"/>
          <a:sym typeface="Helvetica Light"/>
        </a:defRPr>
      </a:lvl5pPr>
      <a:lvl6pPr indent="376063" algn="ctr" defTabSz="271565">
        <a:defRPr sz="3800">
          <a:latin typeface="+mn-lt"/>
          <a:ea typeface="+mn-ea"/>
          <a:cs typeface="+mn-cs"/>
          <a:sym typeface="Helvetica Light"/>
        </a:defRPr>
      </a:lvl6pPr>
      <a:lvl7pPr indent="451156" algn="ctr" defTabSz="271565">
        <a:defRPr sz="3800">
          <a:latin typeface="+mn-lt"/>
          <a:ea typeface="+mn-ea"/>
          <a:cs typeface="+mn-cs"/>
          <a:sym typeface="Helvetica Light"/>
        </a:defRPr>
      </a:lvl7pPr>
      <a:lvl8pPr indent="526356" algn="ctr" defTabSz="271565">
        <a:defRPr sz="3800">
          <a:latin typeface="+mn-lt"/>
          <a:ea typeface="+mn-ea"/>
          <a:cs typeface="+mn-cs"/>
          <a:sym typeface="Helvetica Light"/>
        </a:defRPr>
      </a:lvl8pPr>
      <a:lvl9pPr indent="601580" algn="ctr" defTabSz="271565">
        <a:defRPr sz="3800">
          <a:latin typeface="+mn-lt"/>
          <a:ea typeface="+mn-ea"/>
          <a:cs typeface="+mn-cs"/>
          <a:sym typeface="Helvetica Light"/>
        </a:defRPr>
      </a:lvl9pPr>
    </p:titleStyle>
    <p:bodyStyle>
      <a:lvl1pPr marL="207368" indent="-207368" algn="l" defTabSz="269875" rtl="0" eaLnBrk="0" fontAlgn="base" hangingPunct="0">
        <a:spcBef>
          <a:spcPts val="1977"/>
        </a:spcBef>
        <a:spcAft>
          <a:spcPct val="0"/>
        </a:spcAft>
        <a:buSzPct val="7500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marL="415727" indent="-207368" algn="l" defTabSz="269875" rtl="0" eaLnBrk="0" fontAlgn="base" hangingPunct="0">
        <a:spcBef>
          <a:spcPts val="1977"/>
        </a:spcBef>
        <a:spcAft>
          <a:spcPct val="0"/>
        </a:spcAft>
        <a:buSzPct val="7500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marL="625078" indent="-207368" algn="l" defTabSz="269875" rtl="0" eaLnBrk="0" fontAlgn="base" hangingPunct="0">
        <a:spcBef>
          <a:spcPts val="1977"/>
        </a:spcBef>
        <a:spcAft>
          <a:spcPct val="0"/>
        </a:spcAft>
        <a:buSzPct val="7500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marL="834430" indent="-207368" algn="l" defTabSz="269875" rtl="0" eaLnBrk="0" fontAlgn="base" hangingPunct="0">
        <a:spcBef>
          <a:spcPts val="1977"/>
        </a:spcBef>
        <a:spcAft>
          <a:spcPct val="0"/>
        </a:spcAft>
        <a:buSzPct val="7500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marL="1042789" indent="-207368" algn="l" defTabSz="269875" rtl="0" eaLnBrk="0" fontAlgn="base" hangingPunct="0">
        <a:spcBef>
          <a:spcPts val="1977"/>
        </a:spcBef>
        <a:spcAft>
          <a:spcPct val="0"/>
        </a:spcAft>
        <a:buSzPct val="7500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marL="1253378" indent="-208895" defTabSz="271565">
        <a:spcBef>
          <a:spcPts val="1976"/>
        </a:spcBef>
        <a:buSzPct val="75000"/>
        <a:buChar char="•"/>
        <a:defRPr sz="1800">
          <a:latin typeface="+mn-lt"/>
          <a:ea typeface="+mn-ea"/>
          <a:cs typeface="+mn-cs"/>
          <a:sym typeface="Helvetica Light"/>
        </a:defRPr>
      </a:lvl6pPr>
      <a:lvl7pPr marL="1462185" indent="-208895" defTabSz="271565">
        <a:spcBef>
          <a:spcPts val="1976"/>
        </a:spcBef>
        <a:buSzPct val="75000"/>
        <a:buChar char="•"/>
        <a:defRPr sz="1800">
          <a:latin typeface="+mn-lt"/>
          <a:ea typeface="+mn-ea"/>
          <a:cs typeface="+mn-cs"/>
          <a:sym typeface="Helvetica Light"/>
        </a:defRPr>
      </a:lvl7pPr>
      <a:lvl8pPr marL="1671074" indent="-208895" defTabSz="271565">
        <a:spcBef>
          <a:spcPts val="1976"/>
        </a:spcBef>
        <a:buSzPct val="75000"/>
        <a:buChar char="•"/>
        <a:defRPr sz="1800">
          <a:latin typeface="+mn-lt"/>
          <a:ea typeface="+mn-ea"/>
          <a:cs typeface="+mn-cs"/>
          <a:sym typeface="Helvetica Light"/>
        </a:defRPr>
      </a:lvl8pPr>
      <a:lvl9pPr marL="1879984" indent="-208895" defTabSz="271565">
        <a:spcBef>
          <a:spcPts val="1976"/>
        </a:spcBef>
        <a:buSzPct val="75000"/>
        <a:buChar char="•"/>
        <a:defRPr sz="1800">
          <a:latin typeface="+mn-lt"/>
          <a:ea typeface="+mn-ea"/>
          <a:cs typeface="+mn-cs"/>
          <a:sym typeface="Helvetica Light"/>
        </a:defRPr>
      </a:lvl9pPr>
    </p:bodyStyle>
    <p:otherStyle>
      <a:lvl1pPr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75244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150339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225608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300789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376063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451156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526356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601580" algn="ctr" defTabSz="271565">
        <a:defRPr sz="800"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56"/>
          <p:cNvGraphicFramePr>
            <a:graphicFrameLocks noChangeAspect="1"/>
          </p:cNvGraphicFramePr>
          <p:nvPr/>
        </p:nvGraphicFramePr>
        <p:xfrm>
          <a:off x="993" y="993"/>
          <a:ext cx="992" cy="9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3" y="993"/>
                        <a:ext cx="992" cy="99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19484" y="200422"/>
            <a:ext cx="839093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0156" tIns="0" rIns="80156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9328" y="1200547"/>
            <a:ext cx="8371086" cy="3394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2101" tIns="40093" rIns="80156" bIns="400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2678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7" r:id="rId23"/>
    <p:sldLayoutId id="2147483688" r:id="rId24"/>
    <p:sldLayoutId id="2147483691" r:id="rId25"/>
  </p:sldLayoutIdLst>
  <p:hf hdr="0" ftr="0" dt="0"/>
  <p:txStyles>
    <p:titleStyle>
      <a:lvl1pPr algn="l" defTabSz="798711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798711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Georgia" pitchFamily="18" charset="0"/>
          <a:ea typeface="汉仪中宋简" pitchFamily="49" charset="-122"/>
        </a:defRPr>
      </a:lvl2pPr>
      <a:lvl3pPr algn="l" defTabSz="798711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Georgia" pitchFamily="18" charset="0"/>
          <a:ea typeface="汉仪中宋简" pitchFamily="49" charset="-122"/>
        </a:defRPr>
      </a:lvl3pPr>
      <a:lvl4pPr algn="l" defTabSz="798711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Georgia" pitchFamily="18" charset="0"/>
          <a:ea typeface="汉仪中宋简" pitchFamily="49" charset="-122"/>
        </a:defRPr>
      </a:lvl4pPr>
      <a:lvl5pPr algn="l" defTabSz="798711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Georgia" pitchFamily="18" charset="0"/>
          <a:ea typeface="汉仪中宋简" pitchFamily="49" charset="-122"/>
        </a:defRPr>
      </a:lvl5pPr>
      <a:lvl6pPr marL="280758" algn="l" defTabSz="801354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Roos St Regis Display"/>
        </a:defRPr>
      </a:lvl6pPr>
      <a:lvl7pPr marL="561557" algn="l" defTabSz="801354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Roos St Regis Display"/>
        </a:defRPr>
      </a:lvl7pPr>
      <a:lvl8pPr marL="842330" algn="l" defTabSz="801354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Roos St Regis Display"/>
        </a:defRPr>
      </a:lvl8pPr>
      <a:lvl9pPr marL="1123154" algn="l" defTabSz="801354" rtl="0" fontAlgn="base">
        <a:lnSpc>
          <a:spcPct val="8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Roos St Regis Display"/>
        </a:defRPr>
      </a:lvl9pPr>
    </p:titleStyle>
    <p:bodyStyle>
      <a:lvl1pPr marL="172641" indent="-172641" algn="l" defTabSz="798711" rtl="0" eaLnBrk="0" fontAlgn="base" hangingPunct="0">
        <a:spcBef>
          <a:spcPts val="750"/>
        </a:spcBef>
        <a:spcAft>
          <a:spcPct val="0"/>
        </a:spcAft>
        <a:buFont typeface="Arial" pitchFamily="34" charset="0"/>
        <a:buChar char="•"/>
        <a:defRPr sz="2300" kern="1200">
          <a:solidFill>
            <a:schemeClr val="tx1"/>
          </a:solidFill>
          <a:latin typeface="+mj-lt"/>
          <a:ea typeface="+mn-ea"/>
          <a:cs typeface="+mn-cs"/>
        </a:defRPr>
      </a:lvl1pPr>
      <a:lvl2pPr marL="347266" indent="-169664" algn="l" defTabSz="798711" rtl="0" eaLnBrk="0" fontAlgn="base" hangingPunct="0">
        <a:spcBef>
          <a:spcPct val="0"/>
        </a:spcBef>
        <a:spcAft>
          <a:spcPct val="0"/>
        </a:spcAft>
        <a:buSzPct val="80000"/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321" indent="-2493368" algn="l" defTabSz="798711" rtl="0" eaLnBrk="0" fontAlgn="base" hangingPunct="0">
        <a:spcBef>
          <a:spcPct val="0"/>
        </a:spcBef>
        <a:spcAft>
          <a:spcPct val="0"/>
        </a:spcAft>
        <a:buSzPct val="8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52438" indent="-278805" algn="l" defTabSz="798711" rtl="0" eaLnBrk="0" fontAlgn="base" hangingPunct="0">
        <a:spcBef>
          <a:spcPct val="20000"/>
        </a:spcBef>
        <a:spcAft>
          <a:spcPct val="0"/>
        </a:spcAft>
        <a:buFont typeface="Roos St Regis Display" pitchFamily="50" charset="0"/>
        <a:buAutoNum type="arabicPeriod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660797" indent="-205383" algn="l" defTabSz="798711" rtl="0" eaLnBrk="0" fontAlgn="base" hangingPunct="0">
        <a:spcBef>
          <a:spcPct val="0"/>
        </a:spcBef>
        <a:spcAft>
          <a:spcPct val="0"/>
        </a:spcAft>
        <a:buFont typeface="Roos St Regis Display" pitchFamily="50" charset="0"/>
        <a:buAutoNum type="alphaUcPeriod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205443" indent="-200490" algn="l" defTabSz="8019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06461" indent="-200490" algn="l" defTabSz="8019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07472" indent="-200490" algn="l" defTabSz="8019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08448" indent="-200490" algn="l" defTabSz="80199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0962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1993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2989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3937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5009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05973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06961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07959" algn="l" defTabSz="80199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2017%20STR_HERITAGE%20Chinese%205-15.mp4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Relationship Id="rId9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image" Target="../media/image16.jpg"/><Relationship Id="rId7" Type="http://schemas.openxmlformats.org/officeDocument/2006/relationships/image" Target="../media/image2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762500" y="1000125"/>
            <a:ext cx="3486547" cy="799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defTabSz="914354">
              <a:defRPr/>
            </a:pPr>
            <a:endParaRPr lang="zh-CN" altLang="en-US" dirty="0">
              <a:solidFill>
                <a:srgbClr val="FFFEEE"/>
              </a:solidFill>
              <a:ea typeface="宋体" pitchFamily="2" charset="-122"/>
            </a:endParaRPr>
          </a:p>
        </p:txBody>
      </p:sp>
      <p:pic>
        <p:nvPicPr>
          <p:cNvPr id="58371" name="Picture 2" descr="P:\MARCOM\2014-12-5官网图印刷版\public\Exterior at night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5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2" name="Subtitle 4">
            <a:hlinkClick r:id="rId4" action="ppaction://hlinkfile"/>
          </p:cNvPr>
          <p:cNvSpPr txBox="1">
            <a:spLocks/>
          </p:cNvSpPr>
          <p:nvPr/>
        </p:nvSpPr>
        <p:spPr bwMode="auto">
          <a:xfrm>
            <a:off x="806649" y="647899"/>
            <a:ext cx="4441031" cy="1151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/>
          <a:lstStyle>
            <a:lvl1pPr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algn="ctr">
              <a:lnSpc>
                <a:spcPct val="125000"/>
              </a:lnSpc>
              <a:spcBef>
                <a:spcPct val="25000"/>
              </a:spcBef>
            </a:pPr>
            <a:r>
              <a:rPr lang="en-US" altLang="zh-CN" sz="2500" b="1">
                <a:solidFill>
                  <a:schemeClr val="bg1"/>
                </a:solidFill>
                <a:latin typeface="Georgia" pitchFamily="18" charset="0"/>
                <a:ea typeface="汉仪中宋简" pitchFamily="49" charset="-122"/>
              </a:rPr>
              <a:t>The St. Regis Shenzhen</a:t>
            </a:r>
          </a:p>
          <a:p>
            <a:pPr algn="ctr">
              <a:lnSpc>
                <a:spcPct val="125000"/>
              </a:lnSpc>
              <a:spcBef>
                <a:spcPct val="25000"/>
              </a:spcBef>
            </a:pPr>
            <a:r>
              <a:rPr lang="zh-CN" altLang="en-US" sz="2500" b="1">
                <a:solidFill>
                  <a:schemeClr val="bg1"/>
                </a:solidFill>
                <a:latin typeface="Georgia" pitchFamily="18" charset="0"/>
                <a:ea typeface="汉仪中宋简" pitchFamily="49" charset="-122"/>
              </a:rPr>
              <a:t>深圳瑞吉酒店              </a:t>
            </a:r>
          </a:p>
        </p:txBody>
      </p:sp>
      <p:sp>
        <p:nvSpPr>
          <p:cNvPr id="58373" name="矩形 4"/>
          <p:cNvSpPr>
            <a:spLocks noChangeArrowheads="1"/>
          </p:cNvSpPr>
          <p:nvPr/>
        </p:nvSpPr>
        <p:spPr bwMode="auto">
          <a:xfrm>
            <a:off x="329406" y="1940719"/>
            <a:ext cx="5395516" cy="981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147" tIns="28574" rIns="57147" bIns="28574">
            <a:spAutoFit/>
          </a:bodyPr>
          <a:lstStyle/>
          <a:p>
            <a:pPr eaLnBrk="1" hangingPunct="1"/>
            <a:r>
              <a:rPr lang="en-US" altLang="zh-CN" sz="1500" dirty="0">
                <a:solidFill>
                  <a:schemeClr val="bg1"/>
                </a:solidFill>
                <a:latin typeface="Georgia" pitchFamily="18" charset="0"/>
                <a:ea typeface="汉仪中宋简" pitchFamily="49" charset="-122"/>
              </a:rPr>
              <a:t>The St. Regis Shenzhen provides the most exceptional service in this landmark architecture.</a:t>
            </a:r>
          </a:p>
          <a:p>
            <a:pPr eaLnBrk="1" hangingPunct="1"/>
            <a:r>
              <a:rPr lang="zh-CN" altLang="en-US" sz="1500" dirty="0" smtClean="0">
                <a:solidFill>
                  <a:schemeClr val="bg1"/>
                </a:solidFill>
                <a:latin typeface="Georgia" pitchFamily="18" charset="0"/>
                <a:ea typeface="汉仪中宋简" pitchFamily="49" charset="-122"/>
              </a:rPr>
              <a:t>        深</a:t>
            </a:r>
            <a:r>
              <a:rPr lang="zh-CN" altLang="en-US" sz="1500" dirty="0">
                <a:solidFill>
                  <a:schemeClr val="bg1"/>
                </a:solidFill>
                <a:latin typeface="Georgia" pitchFamily="18" charset="0"/>
                <a:ea typeface="汉仪中宋简" pitchFamily="49" charset="-122"/>
              </a:rPr>
              <a:t>圳瑞吉酒店在深</a:t>
            </a:r>
            <a:r>
              <a:rPr lang="zh-CN" altLang="en-US" sz="1500" dirty="0" smtClean="0">
                <a:solidFill>
                  <a:schemeClr val="bg1"/>
                </a:solidFill>
                <a:latin typeface="Georgia" pitchFamily="18" charset="0"/>
                <a:ea typeface="汉仪中宋简" pitchFamily="49" charset="-122"/>
              </a:rPr>
              <a:t>圳地</a:t>
            </a:r>
            <a:r>
              <a:rPr lang="zh-CN" altLang="en-US" sz="1500" dirty="0">
                <a:solidFill>
                  <a:schemeClr val="bg1"/>
                </a:solidFill>
                <a:latin typeface="Georgia" pitchFamily="18" charset="0"/>
                <a:ea typeface="汉仪中宋简" pitchFamily="49" charset="-122"/>
              </a:rPr>
              <a:t>标建筑中为客人提供最卓越非凡的服务。</a:t>
            </a:r>
            <a:endParaRPr lang="en-US" altLang="zh-CN" sz="1500" dirty="0">
              <a:solidFill>
                <a:schemeClr val="bg1"/>
              </a:solidFill>
              <a:latin typeface="Georgia" pitchFamily="18" charset="0"/>
              <a:ea typeface="汉仪中宋简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42996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142" y="2647950"/>
            <a:ext cx="1839198" cy="1097035"/>
          </a:xfrm>
          <a:prstGeom prst="rect">
            <a:avLst/>
          </a:prstGeom>
        </p:spPr>
      </p:pic>
      <p:pic>
        <p:nvPicPr>
          <p:cNvPr id="52227" name="Picture 4" descr="https://img03.sogoucdn.com/v2/thumb/resize/w/490/t/2/retype/ext/auto/q/90/?appid=200698&amp;name=500_321_17FB19C0D55C915F4A2E1FF5A53815BB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001" y="3912150"/>
            <a:ext cx="1839600" cy="1098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/>
        </p:spPr>
      </p:pic>
      <p:sp>
        <p:nvSpPr>
          <p:cNvPr id="61445" name="Title 1"/>
          <p:cNvSpPr txBox="1">
            <a:spLocks/>
          </p:cNvSpPr>
          <p:nvPr/>
        </p:nvSpPr>
        <p:spPr bwMode="auto">
          <a:xfrm>
            <a:off x="144858" y="62111"/>
            <a:ext cx="5826125" cy="604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18" tIns="0" rIns="81618" bIns="0" anchor="b"/>
          <a:lstStyle>
            <a:lvl1pPr defTabSz="1303338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1303338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1303338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1303338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1303338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1303338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1303338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1303338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1303338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2500" dirty="0">
                <a:solidFill>
                  <a:srgbClr val="000000"/>
                </a:solidFill>
                <a:latin typeface="Georgia" pitchFamily="18" charset="0"/>
                <a:ea typeface="汉仪中宋简" pitchFamily="49" charset="-122"/>
              </a:rPr>
              <a:t>Colorful </a:t>
            </a:r>
            <a:r>
              <a:rPr lang="en-US" altLang="zh-CN" sz="2500" dirty="0" smtClean="0">
                <a:solidFill>
                  <a:srgbClr val="000000"/>
                </a:solidFill>
                <a:latin typeface="Georgia" pitchFamily="18" charset="0"/>
                <a:ea typeface="汉仪中宋简" pitchFamily="49" charset="-122"/>
              </a:rPr>
              <a:t>Shenzhen</a:t>
            </a:r>
            <a:endParaRPr lang="zh-CN" altLang="en-US" sz="2500" dirty="0">
              <a:solidFill>
                <a:srgbClr val="000000"/>
              </a:solidFill>
              <a:latin typeface="Georgia" pitchFamily="18" charset="0"/>
              <a:ea typeface="汉仪中宋简" pitchFamily="49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r="-4332" b="4321"/>
          <a:stretch/>
        </p:blipFill>
        <p:spPr>
          <a:xfrm>
            <a:off x="183000" y="895350"/>
            <a:ext cx="4693801" cy="25607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Picture 2"/>
          <p:cNvPicPr preferRelativeResize="0"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00" y="3640165"/>
            <a:ext cx="2179200" cy="13530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1656257" y="4755371"/>
            <a:ext cx="677368" cy="226985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100" b="1" dirty="0">
                <a:solidFill>
                  <a:prstClr val="white"/>
                </a:solidFill>
                <a:latin typeface="+mn-ea"/>
              </a:rPr>
              <a:t>西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84803" y="3436882"/>
            <a:ext cx="1144488" cy="257763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300" b="1" dirty="0">
                <a:solidFill>
                  <a:prstClr val="white"/>
                </a:solidFill>
                <a:latin typeface="汉仪中宋简"/>
              </a:rPr>
              <a:t>大鹏古城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449726" y="4787846"/>
            <a:ext cx="645646" cy="257763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300" b="1" dirty="0">
                <a:solidFill>
                  <a:prstClr val="white"/>
                </a:solidFill>
                <a:latin typeface="汉仪中宋简"/>
              </a:rPr>
              <a:t>西冲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210028" y="5250627"/>
            <a:ext cx="800961" cy="250069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056086" y="4505302"/>
            <a:ext cx="800961" cy="250069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493361" y="3453329"/>
            <a:ext cx="558381" cy="250069"/>
          </a:xfrm>
          <a:prstGeom prst="rect">
            <a:avLst/>
          </a:prstGeom>
          <a:solidFill>
            <a:schemeClr val="accent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043246" y="4738674"/>
            <a:ext cx="936686" cy="226985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1100" b="1" dirty="0">
                <a:solidFill>
                  <a:prstClr val="white"/>
                </a:solidFill>
                <a:latin typeface="汉仪中宋简"/>
              </a:rPr>
              <a:t> </a:t>
            </a:r>
            <a:r>
              <a:rPr lang="zh-CN" altLang="en-US" sz="1100" b="1" dirty="0" smtClean="0">
                <a:solidFill>
                  <a:prstClr val="white"/>
                </a:solidFill>
                <a:latin typeface="汉仪中宋简"/>
              </a:rPr>
              <a:t>大鹏古城</a:t>
            </a:r>
            <a:endParaRPr lang="zh-CN" altLang="en-US" sz="1100" b="1" dirty="0">
              <a:solidFill>
                <a:prstClr val="white"/>
              </a:solidFill>
              <a:latin typeface="汉仪中宋简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943600" y="3487765"/>
            <a:ext cx="1039338" cy="226985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100" b="1" dirty="0">
                <a:solidFill>
                  <a:prstClr val="white"/>
                </a:solidFill>
                <a:latin typeface="汉仪中宋简"/>
              </a:rPr>
              <a:t>世</a:t>
            </a:r>
            <a:r>
              <a:rPr lang="zh-CN" altLang="en-US" sz="1100" b="1" dirty="0" smtClean="0">
                <a:solidFill>
                  <a:prstClr val="white"/>
                </a:solidFill>
                <a:latin typeface="汉仪中宋简"/>
              </a:rPr>
              <a:t>界之窗</a:t>
            </a:r>
            <a:endParaRPr lang="zh-CN" altLang="en-US" sz="1100" b="1" dirty="0">
              <a:solidFill>
                <a:prstClr val="white"/>
              </a:solidFill>
              <a:latin typeface="汉仪中宋简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516973" y="270196"/>
            <a:ext cx="2788827" cy="1996754"/>
            <a:chOff x="4306442" y="735606"/>
            <a:chExt cx="2185189" cy="1693076"/>
          </a:xfrm>
        </p:grpSpPr>
        <p:grpSp>
          <p:nvGrpSpPr>
            <p:cNvPr id="15" name="Group 14"/>
            <p:cNvGrpSpPr/>
            <p:nvPr/>
          </p:nvGrpSpPr>
          <p:grpSpPr>
            <a:xfrm>
              <a:off x="4306442" y="830621"/>
              <a:ext cx="2078678" cy="1598061"/>
              <a:chOff x="4053177" y="402164"/>
              <a:chExt cx="1951383" cy="1922599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4175760" y="402164"/>
                <a:ext cx="1828800" cy="18288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06F0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4053177" y="495963"/>
                <a:ext cx="1828800" cy="1828800"/>
              </a:xfrm>
              <a:prstGeom prst="rect">
                <a:avLst/>
              </a:prstGeom>
              <a:noFill/>
              <a:ln w="6350">
                <a:solidFill>
                  <a:srgbClr val="835B0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4711612" y="1178798"/>
              <a:ext cx="1549020" cy="779642"/>
            </a:xfrm>
            <a:prstGeom prst="rect">
              <a:avLst/>
            </a:prstGeom>
            <a:noFill/>
          </p:spPr>
          <p:txBody>
            <a:bodyPr wrap="square" lIns="57150" tIns="28575" rIns="57150" bIns="28575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400" dirty="0">
                  <a:solidFill>
                    <a:srgbClr val="000000"/>
                  </a:solidFill>
                  <a:latin typeface="汉仪中宋简"/>
                </a:rPr>
                <a:t>深圳毗</a:t>
              </a:r>
              <a:r>
                <a:rPr lang="zh-CN" altLang="en-US" sz="1400" dirty="0" smtClean="0">
                  <a:solidFill>
                    <a:srgbClr val="000000"/>
                  </a:solidFill>
                  <a:latin typeface="汉仪中宋简"/>
                </a:rPr>
                <a:t>邻珠海，澳门，依</a:t>
              </a:r>
              <a:r>
                <a:rPr lang="zh-CN" altLang="en-US" sz="1400" dirty="0">
                  <a:solidFill>
                    <a:srgbClr val="000000"/>
                  </a:solidFill>
                  <a:latin typeface="汉仪中宋简"/>
                </a:rPr>
                <a:t>山临海，全年气候舒</a:t>
              </a:r>
              <a:r>
                <a:rPr lang="zh-CN" altLang="en-US" sz="1400" dirty="0" smtClean="0">
                  <a:solidFill>
                    <a:srgbClr val="000000"/>
                  </a:solidFill>
                  <a:latin typeface="汉仪中宋简"/>
                </a:rPr>
                <a:t>适；冬</a:t>
              </a:r>
              <a:r>
                <a:rPr lang="zh-CN" altLang="en-US" sz="1400" dirty="0">
                  <a:solidFill>
                    <a:srgbClr val="000000"/>
                  </a:solidFill>
                  <a:latin typeface="汉仪中宋简"/>
                </a:rPr>
                <a:t>季温暖，阳光、沙滩触手可及。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4543532" y="735606"/>
              <a:ext cx="1948099" cy="1520095"/>
            </a:xfrm>
            <a:prstGeom prst="rect">
              <a:avLst/>
            </a:prstGeom>
            <a:noFill/>
            <a:ln w="6350">
              <a:solidFill>
                <a:srgbClr val="A06F0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150" tIns="28575" rIns="57150" bIns="28575"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840684" y="788134"/>
            <a:ext cx="41711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500" dirty="0">
                <a:solidFill>
                  <a:srgbClr val="635D59"/>
                </a:solidFill>
                <a:latin typeface="Georgia" pitchFamily="18" charset="0"/>
                <a:ea typeface="汉仪中宋简" pitchFamily="49" charset="-122"/>
              </a:rPr>
              <a:t>多姿深</a:t>
            </a:r>
            <a:r>
              <a:rPr lang="zh-CN" altLang="en-US" sz="2500" dirty="0" smtClean="0">
                <a:solidFill>
                  <a:srgbClr val="635D59"/>
                </a:solidFill>
                <a:latin typeface="Georgia" pitchFamily="18" charset="0"/>
                <a:ea typeface="汉仪中宋简" pitchFamily="49" charset="-122"/>
              </a:rPr>
              <a:t>圳</a:t>
            </a:r>
            <a:endParaRPr lang="zh-CN" altLang="en-US" sz="2500" dirty="0">
              <a:solidFill>
                <a:srgbClr val="635D59"/>
              </a:solidFill>
              <a:latin typeface="Georgia" pitchFamily="18" charset="0"/>
              <a:ea typeface="汉仪中宋简" pitchFamily="49" charset="-122"/>
            </a:endParaRPr>
          </a:p>
        </p:txBody>
      </p:sp>
      <p:pic>
        <p:nvPicPr>
          <p:cNvPr id="30723" name="Picture 3"/>
          <p:cNvPicPr preferRelativeResize="0"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41201" y="3901800"/>
            <a:ext cx="1839600" cy="109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7810072" y="4747023"/>
            <a:ext cx="1153697" cy="226985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100" b="1" dirty="0">
                <a:solidFill>
                  <a:prstClr val="white"/>
                </a:solidFill>
                <a:latin typeface="汉仪中宋简"/>
              </a:rPr>
              <a:t>华侨</a:t>
            </a:r>
            <a:r>
              <a:rPr lang="zh-CN" altLang="en-US" sz="1100" b="1" dirty="0" smtClean="0">
                <a:solidFill>
                  <a:prstClr val="white"/>
                </a:solidFill>
                <a:latin typeface="汉仪中宋简"/>
              </a:rPr>
              <a:t>城创意园</a:t>
            </a:r>
            <a:endParaRPr lang="zh-CN" altLang="en-US" sz="1100" b="1" dirty="0">
              <a:solidFill>
                <a:prstClr val="white"/>
              </a:solidFill>
              <a:latin typeface="汉仪中宋简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199433" y="4678013"/>
            <a:ext cx="677368" cy="257763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300" b="1" dirty="0" smtClean="0">
                <a:solidFill>
                  <a:prstClr val="white"/>
                </a:solidFill>
                <a:latin typeface="+mn-ea"/>
              </a:rPr>
              <a:t>梧桐山</a:t>
            </a:r>
            <a:endParaRPr lang="zh-CN" altLang="en-US" sz="1300" b="1" dirty="0">
              <a:solidFill>
                <a:prstClr val="white"/>
              </a:solidFill>
              <a:latin typeface="+mn-ea"/>
            </a:endParaRPr>
          </a:p>
        </p:txBody>
      </p:sp>
      <p:pic>
        <p:nvPicPr>
          <p:cNvPr id="30725" name="Picture 5" descr="C:\Users\a0213355\Desktop\梧桐山2.jpg"/>
          <p:cNvPicPr preferRelativeResize="0"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07"/>
          <a:stretch/>
        </p:blipFill>
        <p:spPr bwMode="auto">
          <a:xfrm>
            <a:off x="7130898" y="2647950"/>
            <a:ext cx="1839600" cy="109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8389079" y="3486150"/>
            <a:ext cx="536626" cy="184197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100" b="1" dirty="0" smtClean="0">
                <a:solidFill>
                  <a:prstClr val="white"/>
                </a:solidFill>
                <a:latin typeface="+mn-ea"/>
              </a:rPr>
              <a:t>梧桐山</a:t>
            </a:r>
            <a:endParaRPr lang="zh-CN" altLang="en-US" sz="1100" b="1" dirty="0">
              <a:solidFill>
                <a:prstClr val="white"/>
              </a:solidFill>
              <a:latin typeface="+mn-ea"/>
            </a:endParaRPr>
          </a:p>
        </p:txBody>
      </p:sp>
      <p:pic>
        <p:nvPicPr>
          <p:cNvPr id="31" name="Picture 3"/>
          <p:cNvPicPr preferRelativeResize="0"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41" r="8462" b="8681"/>
          <a:stretch/>
        </p:blipFill>
        <p:spPr bwMode="auto">
          <a:xfrm>
            <a:off x="2482274" y="3642756"/>
            <a:ext cx="2178000" cy="1353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3417673" y="4747023"/>
            <a:ext cx="1230527" cy="279824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1100" b="1" dirty="0" smtClean="0">
                <a:solidFill>
                  <a:prstClr val="white"/>
                </a:solidFill>
                <a:latin typeface="汉仪中宋简"/>
              </a:rPr>
              <a:t>深圳音乐厅</a:t>
            </a:r>
            <a:endParaRPr lang="zh-CN" altLang="en-US" sz="1100" b="1" dirty="0">
              <a:solidFill>
                <a:prstClr val="white"/>
              </a:solidFill>
              <a:latin typeface="汉仪中宋简"/>
            </a:endParaRPr>
          </a:p>
        </p:txBody>
      </p:sp>
    </p:spTree>
    <p:extLst>
      <p:ext uri="{BB962C8B-B14F-4D97-AF65-F5344CB8AC3E}">
        <p14:creationId xmlns:p14="http://schemas.microsoft.com/office/powerpoint/2010/main" val="2923722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462359" y="2225225"/>
            <a:ext cx="3859609" cy="904863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algn="just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100" dirty="0" smtClean="0">
                <a:solidFill>
                  <a:srgbClr val="000000"/>
                </a:solidFill>
                <a:latin typeface="+mj-lt"/>
              </a:rPr>
              <a:t>       酒</a:t>
            </a:r>
            <a:r>
              <a:rPr lang="zh-CN" altLang="en-US" sz="1100" dirty="0">
                <a:solidFill>
                  <a:srgbClr val="000000"/>
                </a:solidFill>
                <a:latin typeface="+mj-lt"/>
              </a:rPr>
              <a:t>店拥有 </a:t>
            </a:r>
            <a:r>
              <a:rPr lang="en-US" altLang="zh-CN" sz="1100" dirty="0">
                <a:solidFill>
                  <a:srgbClr val="000000"/>
                </a:solidFill>
                <a:latin typeface="+mj-lt"/>
              </a:rPr>
              <a:t>290</a:t>
            </a:r>
            <a:r>
              <a:rPr lang="zh-CN" altLang="en-US" sz="1100" dirty="0">
                <a:solidFill>
                  <a:srgbClr val="000000"/>
                </a:solidFill>
                <a:latin typeface="+mj-lt"/>
              </a:rPr>
              <a:t>间客房和套房共有 </a:t>
            </a:r>
            <a:r>
              <a:rPr lang="en-US" altLang="zh-CN" sz="1100" dirty="0">
                <a:solidFill>
                  <a:srgbClr val="000000"/>
                </a:solidFill>
                <a:latin typeface="+mj-lt"/>
              </a:rPr>
              <a:t>5 </a:t>
            </a:r>
            <a:r>
              <a:rPr lang="zh-CN" altLang="en-US" sz="1100" dirty="0">
                <a:solidFill>
                  <a:srgbClr val="000000"/>
                </a:solidFill>
                <a:latin typeface="+mj-lt"/>
              </a:rPr>
              <a:t>家餐厅和酒吧；另设有专业的水疗护理为宾客提供放松舒适的绝佳体验。</a:t>
            </a:r>
            <a:endParaRPr lang="en-US" altLang="zh-CN" sz="1100" dirty="0">
              <a:solidFill>
                <a:srgbClr val="000000"/>
              </a:solidFill>
              <a:latin typeface="+mj-lt"/>
            </a:endParaRPr>
          </a:p>
          <a:p>
            <a:pPr algn="just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100" dirty="0">
                <a:solidFill>
                  <a:srgbClr val="000000"/>
                </a:solidFill>
                <a:latin typeface="+mj-lt"/>
              </a:rPr>
              <a:t>瑞吉最具特色的专职管家，传承百年经典服务精髓，将随时随地为您提供量身定制的细心服务。</a:t>
            </a:r>
          </a:p>
        </p:txBody>
      </p:sp>
      <p:sp>
        <p:nvSpPr>
          <p:cNvPr id="59400" name="Rectangle 16"/>
          <p:cNvSpPr>
            <a:spLocks noChangeArrowheads="1"/>
          </p:cNvSpPr>
          <p:nvPr/>
        </p:nvSpPr>
        <p:spPr bwMode="auto">
          <a:xfrm>
            <a:off x="462358" y="3425523"/>
            <a:ext cx="3859610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spAutoFit/>
          </a:bodyPr>
          <a:lstStyle/>
          <a:p>
            <a:pPr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200" dirty="0" smtClean="0">
                <a:solidFill>
                  <a:srgbClr val="000000"/>
                </a:solidFill>
                <a:latin typeface="+mj-lt"/>
              </a:rPr>
              <a:t>       卓越的服务品质，来自那些热忱、积极、乐于带来他人愉悦的员工。我们寻找这样的人才，并希望他们和瑞吉一起成长，同深圳瑞吉成就新高度 ！</a:t>
            </a:r>
          </a:p>
        </p:txBody>
      </p:sp>
      <p:sp>
        <p:nvSpPr>
          <p:cNvPr id="59399" name="Rectangle 15"/>
          <p:cNvSpPr>
            <a:spLocks noChangeArrowheads="1"/>
          </p:cNvSpPr>
          <p:nvPr/>
        </p:nvSpPr>
        <p:spPr bwMode="auto">
          <a:xfrm>
            <a:off x="462359" y="1024928"/>
            <a:ext cx="3859609" cy="9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spAutoFit/>
          </a:bodyPr>
          <a:lstStyle/>
          <a:p>
            <a:pPr algn="just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100" dirty="0" smtClean="0">
                <a:solidFill>
                  <a:srgbClr val="000000"/>
                </a:solidFill>
                <a:latin typeface="+mj-lt"/>
              </a:rPr>
              <a:t>        作为万豪国际集团旗下顶级奢华品牌的旗舰店，深圳瑞吉酒店矗立于著名的金融区内，位于京基</a:t>
            </a:r>
            <a:r>
              <a:rPr lang="en-US" altLang="zh-CN" sz="1100" dirty="0" smtClean="0">
                <a:solidFill>
                  <a:srgbClr val="000000"/>
                </a:solidFill>
                <a:latin typeface="+mj-lt"/>
              </a:rPr>
              <a:t>100</a:t>
            </a:r>
            <a:r>
              <a:rPr lang="zh-CN" altLang="en-US" sz="1100" dirty="0" smtClean="0">
                <a:solidFill>
                  <a:srgbClr val="000000"/>
                </a:solidFill>
                <a:latin typeface="+mj-lt"/>
              </a:rPr>
              <a:t>大厦</a:t>
            </a:r>
            <a:r>
              <a:rPr lang="en-US" altLang="zh-CN" sz="1100" dirty="0" smtClean="0">
                <a:solidFill>
                  <a:srgbClr val="000000"/>
                </a:solidFill>
                <a:latin typeface="+mj-lt"/>
              </a:rPr>
              <a:t>75</a:t>
            </a:r>
            <a:r>
              <a:rPr lang="zh-CN" altLang="en-US" sz="1100" dirty="0" smtClean="0">
                <a:solidFill>
                  <a:srgbClr val="000000"/>
                </a:solidFill>
                <a:latin typeface="+mj-lt"/>
              </a:rPr>
              <a:t>层至</a:t>
            </a:r>
            <a:r>
              <a:rPr lang="en-US" altLang="zh-CN" sz="1100" dirty="0" smtClean="0">
                <a:solidFill>
                  <a:srgbClr val="000000"/>
                </a:solidFill>
                <a:latin typeface="+mj-lt"/>
              </a:rPr>
              <a:t>100</a:t>
            </a:r>
            <a:r>
              <a:rPr lang="zh-CN" altLang="en-US" sz="1100" dirty="0" smtClean="0">
                <a:solidFill>
                  <a:srgbClr val="000000"/>
                </a:solidFill>
                <a:latin typeface="+mj-lt"/>
              </a:rPr>
              <a:t>层，高</a:t>
            </a:r>
            <a:r>
              <a:rPr lang="en-US" altLang="zh-CN" sz="1100" dirty="0" smtClean="0">
                <a:solidFill>
                  <a:srgbClr val="000000"/>
                </a:solidFill>
                <a:latin typeface="+mj-lt"/>
              </a:rPr>
              <a:t>441.8</a:t>
            </a:r>
            <a:r>
              <a:rPr lang="zh-CN" altLang="en-US" sz="1100" dirty="0" smtClean="0">
                <a:solidFill>
                  <a:srgbClr val="000000"/>
                </a:solidFill>
                <a:latin typeface="+mj-lt"/>
              </a:rPr>
              <a:t>米，为深圳地标性建筑，毗邻罗湖口岸，俯瞰香港美景及深圳全貌。</a:t>
            </a:r>
            <a:endParaRPr lang="en-US" altLang="zh-CN" sz="11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6" name="Hexagon 25"/>
          <p:cNvSpPr/>
          <p:nvPr/>
        </p:nvSpPr>
        <p:spPr>
          <a:xfrm rot="16200000">
            <a:off x="4638973" y="445702"/>
            <a:ext cx="1771054" cy="1690688"/>
          </a:xfrm>
          <a:prstGeom prst="hexagon">
            <a:avLst/>
          </a:prstGeom>
          <a:blipFill dpi="0" rotWithShape="0">
            <a:blip r:embed="rId3"/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+mj-lt"/>
            </a:endParaRPr>
          </a:p>
        </p:txBody>
      </p:sp>
      <p:sp>
        <p:nvSpPr>
          <p:cNvPr id="28" name="Hexagon 27"/>
          <p:cNvSpPr/>
          <p:nvPr/>
        </p:nvSpPr>
        <p:spPr>
          <a:xfrm rot="16200000">
            <a:off x="6401098" y="445702"/>
            <a:ext cx="1771054" cy="1690688"/>
          </a:xfrm>
          <a:prstGeom prst="hexagon">
            <a:avLst/>
          </a:prstGeom>
          <a:blipFill dpi="0" rotWithShape="0">
            <a:blip r:embed="rId4"/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+mj-lt"/>
            </a:endParaRPr>
          </a:p>
        </p:txBody>
      </p:sp>
      <p:sp>
        <p:nvSpPr>
          <p:cNvPr id="29" name="Hexagon 28"/>
          <p:cNvSpPr/>
          <p:nvPr/>
        </p:nvSpPr>
        <p:spPr>
          <a:xfrm rot="16200000">
            <a:off x="5508129" y="1866015"/>
            <a:ext cx="1771054" cy="1690688"/>
          </a:xfrm>
          <a:prstGeom prst="hexagon">
            <a:avLst/>
          </a:prstGeom>
          <a:blipFill dpi="0" rotWithShape="0">
            <a:blip r:embed="rId5"/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+mj-lt"/>
            </a:endParaRPr>
          </a:p>
        </p:txBody>
      </p:sp>
      <p:sp>
        <p:nvSpPr>
          <p:cNvPr id="30" name="Hexagon 29"/>
          <p:cNvSpPr/>
          <p:nvPr/>
        </p:nvSpPr>
        <p:spPr>
          <a:xfrm rot="16200000">
            <a:off x="7270254" y="1866015"/>
            <a:ext cx="1771054" cy="1690688"/>
          </a:xfrm>
          <a:prstGeom prst="hexagon">
            <a:avLst/>
          </a:prstGeom>
          <a:blipFill dpi="0" rotWithShape="0">
            <a:blip r:embed="rId6"/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+mj-lt"/>
            </a:endParaRPr>
          </a:p>
        </p:txBody>
      </p:sp>
      <p:sp>
        <p:nvSpPr>
          <p:cNvPr id="38" name="Hexagon 37"/>
          <p:cNvSpPr/>
          <p:nvPr/>
        </p:nvSpPr>
        <p:spPr>
          <a:xfrm rot="16200000">
            <a:off x="4627067" y="3283854"/>
            <a:ext cx="1771054" cy="1690688"/>
          </a:xfrm>
          <a:prstGeom prst="hexagon">
            <a:avLst/>
          </a:prstGeom>
          <a:blipFill dpi="0" rotWithShape="0">
            <a:blip r:embed="rId7"/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+mj-lt"/>
            </a:endParaRPr>
          </a:p>
        </p:txBody>
      </p:sp>
      <p:sp>
        <p:nvSpPr>
          <p:cNvPr id="39" name="Hexagon 38"/>
          <p:cNvSpPr/>
          <p:nvPr/>
        </p:nvSpPr>
        <p:spPr>
          <a:xfrm rot="16200000">
            <a:off x="6389192" y="3295759"/>
            <a:ext cx="1771054" cy="1690688"/>
          </a:xfrm>
          <a:prstGeom prst="hexagon">
            <a:avLst/>
          </a:prstGeom>
          <a:blipFill dpi="0" rotWithShape="0">
            <a:blip r:embed="rId8"/>
            <a:srcRect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spcCol="0"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2359" y="234155"/>
            <a:ext cx="2668986" cy="611706"/>
          </a:xfrm>
          <a:prstGeom prst="rect">
            <a:avLst/>
          </a:prstGeom>
          <a:noFill/>
        </p:spPr>
        <p:txBody>
          <a:bodyPr wrap="square" lIns="57150" tIns="28575" rIns="57150" bIns="28575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dirty="0">
                <a:solidFill>
                  <a:prstClr val="white">
                    <a:lumMod val="65000"/>
                  </a:prstClr>
                </a:solidFill>
                <a:latin typeface="+mj-lt"/>
              </a:rPr>
              <a:t>St. Regis Introducti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dirty="0">
                <a:solidFill>
                  <a:srgbClr val="000000"/>
                </a:solidFill>
                <a:latin typeface="+mj-lt"/>
              </a:rPr>
              <a:t>深圳瑞吉酒店简介</a:t>
            </a:r>
          </a:p>
        </p:txBody>
      </p:sp>
    </p:spTree>
    <p:extLst>
      <p:ext uri="{BB962C8B-B14F-4D97-AF65-F5344CB8AC3E}">
        <p14:creationId xmlns:p14="http://schemas.microsoft.com/office/powerpoint/2010/main" val="2932109648"/>
      </p:ext>
    </p:extLst>
  </p:cSld>
  <p:clrMapOvr>
    <a:masterClrMapping/>
  </p:clrMapOvr>
  <p:transition spd="slow" advTm="3000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2" name="Picture Placeholder 8" descr="str3651ex-118958-Exterior at night.jpg"/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22" r="11111" b="32151"/>
          <a:stretch/>
        </p:blipFill>
        <p:spPr>
          <a:xfrm>
            <a:off x="0" y="-19050"/>
            <a:ext cx="9144000" cy="5143500"/>
          </a:xfrm>
        </p:spPr>
      </p:pic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577454" y="160734"/>
            <a:ext cx="5542359" cy="765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150" tIns="28575" rIns="57150" bIns="28575">
            <a:spAutoFit/>
          </a:bodyPr>
          <a:lstStyle>
            <a:lvl1pPr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defRPr/>
            </a:pPr>
            <a:r>
              <a:rPr lang="en-US" altLang="zh-CN" sz="2300" dirty="0">
                <a:solidFill>
                  <a:schemeClr val="bg1"/>
                </a:solidFill>
                <a:latin typeface="+mn-lt"/>
                <a:ea typeface="汉仪中宋简" pitchFamily="49" charset="-122"/>
              </a:rPr>
              <a:t>Interns’ Benefits</a:t>
            </a:r>
          </a:p>
          <a:p>
            <a:pPr>
              <a:defRPr/>
            </a:pPr>
            <a:r>
              <a:rPr lang="zh-CN" altLang="en-US" sz="2300" dirty="0">
                <a:solidFill>
                  <a:schemeClr val="bg1"/>
                </a:solidFill>
                <a:latin typeface="+mn-lt"/>
                <a:ea typeface="汉仪中宋简" pitchFamily="49" charset="-122"/>
              </a:rPr>
              <a:t>实习生福利待遇</a:t>
            </a:r>
          </a:p>
        </p:txBody>
      </p:sp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577453" y="1098352"/>
            <a:ext cx="2865438" cy="1304203"/>
          </a:xfrm>
          <a:prstGeom prst="rect">
            <a:avLst/>
          </a:prstGeom>
          <a:solidFill>
            <a:srgbClr val="9966FF">
              <a:alpha val="25000"/>
            </a:srgbClr>
          </a:solidFill>
          <a:ln>
            <a:noFill/>
          </a:ln>
          <a:extLst/>
        </p:spPr>
        <p:txBody>
          <a:bodyPr lIns="57150" tIns="28575" rIns="57150" bIns="28575">
            <a:spAutoFit/>
          </a:bodyPr>
          <a:lstStyle>
            <a:lvl1pPr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zh-CN" altLang="en-US" sz="1800" dirty="0">
                <a:solidFill>
                  <a:schemeClr val="bg1"/>
                </a:solidFill>
                <a:latin typeface="+mn-lt"/>
                <a:ea typeface="汉仪中宋简" pitchFamily="49" charset="-122"/>
              </a:rPr>
              <a:t>极具竞争力的实习津贴</a:t>
            </a:r>
            <a:endParaRPr lang="en-US" altLang="zh-CN" sz="1800" dirty="0">
              <a:solidFill>
                <a:schemeClr val="bg1"/>
              </a:solidFill>
              <a:latin typeface="+mn-lt"/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zh-CN" altLang="en-US" sz="1800" dirty="0">
                <a:solidFill>
                  <a:schemeClr val="bg1"/>
                </a:solidFill>
                <a:latin typeface="+mn-lt"/>
                <a:ea typeface="汉仪中宋简" pitchFamily="49" charset="-122"/>
              </a:rPr>
              <a:t>优厚的月度宿舍补</a:t>
            </a:r>
            <a:r>
              <a:rPr lang="zh-CN" altLang="en-US" sz="1800" dirty="0" smtClean="0">
                <a:solidFill>
                  <a:schemeClr val="bg1"/>
                </a:solidFill>
                <a:latin typeface="+mn-lt"/>
                <a:ea typeface="汉仪中宋简" pitchFamily="49" charset="-122"/>
              </a:rPr>
              <a:t>贴</a:t>
            </a:r>
            <a:endParaRPr lang="en-US" altLang="zh-CN" sz="1800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zh-CN" altLang="en-US" sz="1800" dirty="0">
                <a:solidFill>
                  <a:schemeClr val="bg1"/>
                </a:solidFill>
                <a:ea typeface="汉仪中宋简" pitchFamily="49" charset="-122"/>
              </a:rPr>
              <a:t>丰厚英语津贴</a:t>
            </a:r>
            <a:endParaRPr lang="en-US" altLang="zh-CN" sz="1800" dirty="0">
              <a:solidFill>
                <a:schemeClr val="bg1"/>
              </a:solidFill>
              <a:ea typeface="汉仪中宋简" pitchFamily="49" charset="-122"/>
            </a:endParaRPr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3478609" y="1104305"/>
            <a:ext cx="2865438" cy="1719702"/>
          </a:xfrm>
          <a:prstGeom prst="rect">
            <a:avLst/>
          </a:prstGeom>
          <a:solidFill>
            <a:srgbClr val="9966FF">
              <a:alpha val="25000"/>
            </a:srgbClr>
          </a:solidFill>
          <a:ln>
            <a:noFill/>
          </a:ln>
          <a:extLst/>
        </p:spPr>
        <p:txBody>
          <a:bodyPr lIns="57150" tIns="28575" rIns="57150" bIns="28575">
            <a:spAutoFit/>
          </a:bodyPr>
          <a:lstStyle>
            <a:lvl1pPr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zh-CN" altLang="en-US" sz="1800" dirty="0">
                <a:solidFill>
                  <a:schemeClr val="bg1"/>
                </a:solidFill>
                <a:ea typeface="汉仪中宋简" pitchFamily="49" charset="-122"/>
              </a:rPr>
              <a:t>享有国家法定节假日</a:t>
            </a:r>
            <a:endParaRPr lang="en-US" altLang="zh-CN" sz="1800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zh-CN" altLang="en-US" sz="1800" dirty="0">
                <a:solidFill>
                  <a:schemeClr val="bg1"/>
                </a:solidFill>
                <a:ea typeface="汉仪中宋简" pitchFamily="49" charset="-122"/>
              </a:rPr>
              <a:t>转正后带薪年假</a:t>
            </a:r>
            <a:endParaRPr lang="en-US" altLang="zh-CN" sz="1800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zh-CN" altLang="en-US" sz="1800" dirty="0">
                <a:solidFill>
                  <a:schemeClr val="bg1"/>
                </a:solidFill>
                <a:ea typeface="汉仪中宋简" pitchFamily="49" charset="-122"/>
              </a:rPr>
              <a:t>独立温馨的员工宿舍</a:t>
            </a:r>
            <a:endParaRPr lang="en-US" altLang="zh-CN" sz="1800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zh-CN" altLang="en-US" sz="1800" dirty="0">
                <a:solidFill>
                  <a:schemeClr val="bg1"/>
                </a:solidFill>
                <a:ea typeface="汉仪中宋简" pitchFamily="49" charset="-122"/>
              </a:rPr>
              <a:t>美味可口的员工餐</a:t>
            </a:r>
            <a:r>
              <a:rPr lang="zh-CN" altLang="en-US" sz="1800" dirty="0" smtClean="0">
                <a:solidFill>
                  <a:schemeClr val="bg1"/>
                </a:solidFill>
                <a:ea typeface="汉仪中宋简" pitchFamily="49" charset="-122"/>
              </a:rPr>
              <a:t>厅</a:t>
            </a:r>
            <a:endParaRPr lang="en-US" altLang="zh-CN" sz="1800" dirty="0">
              <a:solidFill>
                <a:schemeClr val="bg1"/>
              </a:solidFill>
              <a:ea typeface="汉仪中宋简" pitchFamily="49" charset="-122"/>
            </a:endParaRPr>
          </a:p>
        </p:txBody>
      </p:sp>
      <p:sp>
        <p:nvSpPr>
          <p:cNvPr id="191494" name="矩形 6"/>
          <p:cNvSpPr>
            <a:spLocks noChangeArrowheads="1"/>
          </p:cNvSpPr>
          <p:nvPr/>
        </p:nvSpPr>
        <p:spPr bwMode="auto">
          <a:xfrm>
            <a:off x="572493" y="2343150"/>
            <a:ext cx="2870398" cy="1719702"/>
          </a:xfrm>
          <a:prstGeom prst="rect">
            <a:avLst/>
          </a:prstGeom>
          <a:solidFill>
            <a:srgbClr val="9966FF">
              <a:alpha val="2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150" tIns="28575" rIns="57150" bIns="28575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ea typeface="汉仪中宋简" pitchFamily="49" charset="-122"/>
              </a:rPr>
              <a:t>月度趣味英语角</a:t>
            </a:r>
            <a:endParaRPr lang="en-US" altLang="zh-CN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ea typeface="汉仪中宋简" pitchFamily="49" charset="-122"/>
              </a:rPr>
              <a:t>系统全面的培训</a:t>
            </a:r>
            <a:endParaRPr lang="en-US" altLang="zh-CN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ea typeface="汉仪中宋简" pitchFamily="49" charset="-122"/>
              </a:rPr>
              <a:t>极大的晋升空间</a:t>
            </a:r>
            <a:endParaRPr lang="en-US" altLang="zh-CN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ea typeface="汉仪中宋简" pitchFamily="49" charset="-122"/>
              </a:rPr>
              <a:t>丰</a:t>
            </a:r>
            <a:r>
              <a:rPr lang="zh-CN" altLang="en-US" dirty="0" smtClean="0">
                <a:solidFill>
                  <a:schemeClr val="bg1"/>
                </a:solidFill>
                <a:ea typeface="汉仪中宋简" pitchFamily="49" charset="-122"/>
              </a:rPr>
              <a:t>厚的积分礼品兑换</a:t>
            </a:r>
            <a:endParaRPr lang="en-US" altLang="zh-CN" dirty="0">
              <a:solidFill>
                <a:schemeClr val="bg1"/>
              </a:solidFill>
              <a:ea typeface="汉仪中宋简" pitchFamily="49" charset="-122"/>
            </a:endParaRPr>
          </a:p>
        </p:txBody>
      </p:sp>
      <p:sp>
        <p:nvSpPr>
          <p:cNvPr id="191495" name="矩形 7"/>
          <p:cNvSpPr>
            <a:spLocks noChangeArrowheads="1"/>
          </p:cNvSpPr>
          <p:nvPr/>
        </p:nvSpPr>
        <p:spPr bwMode="auto">
          <a:xfrm>
            <a:off x="3478609" y="2800350"/>
            <a:ext cx="2865438" cy="1304203"/>
          </a:xfrm>
          <a:prstGeom prst="rect">
            <a:avLst/>
          </a:prstGeom>
          <a:solidFill>
            <a:srgbClr val="9966FF">
              <a:alpha val="2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150" tIns="28575" rIns="57150" bIns="28575">
            <a:spAutoFit/>
          </a:bodyPr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ea typeface="汉仪中宋简" pitchFamily="49" charset="-122"/>
              </a:rPr>
              <a:t>丰富多彩的员工活动</a:t>
            </a:r>
            <a:endParaRPr lang="en-US" altLang="zh-CN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ea typeface="汉仪中宋简" pitchFamily="49" charset="-122"/>
              </a:rPr>
              <a:t>精彩纷呈的年度出游</a:t>
            </a:r>
            <a:endParaRPr lang="en-US" altLang="zh-CN" dirty="0">
              <a:solidFill>
                <a:schemeClr val="bg1"/>
              </a:solidFill>
              <a:ea typeface="汉仪中宋简" pitchFamily="49" charset="-122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zh-CN" altLang="en-US" dirty="0">
                <a:solidFill>
                  <a:schemeClr val="bg1"/>
                </a:solidFill>
                <a:ea typeface="汉仪中宋简" pitchFamily="49" charset="-122"/>
              </a:rPr>
              <a:t>精美的员工生日礼物</a:t>
            </a:r>
            <a:endParaRPr lang="en-US" altLang="zh-CN" dirty="0">
              <a:solidFill>
                <a:schemeClr val="bg1"/>
              </a:solidFill>
              <a:ea typeface="汉仪中宋简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787510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91494" grpId="0" animBg="1"/>
      <p:bldP spid="19149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3"/>
          <p:cNvSpPr/>
          <p:nvPr/>
        </p:nvSpPr>
        <p:spPr>
          <a:xfrm flipV="1">
            <a:off x="3894336" y="885032"/>
            <a:ext cx="4868664" cy="33734"/>
          </a:xfrm>
          <a:prstGeom prst="rect">
            <a:avLst/>
          </a:prstGeom>
          <a:solidFill>
            <a:schemeClr val="tx2"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defTabSz="914354">
              <a:defRPr/>
            </a:pP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4" name="Rectangle 4"/>
          <p:cNvSpPr/>
          <p:nvPr/>
        </p:nvSpPr>
        <p:spPr>
          <a:xfrm flipV="1">
            <a:off x="5046266" y="941586"/>
            <a:ext cx="3716734" cy="34726"/>
          </a:xfrm>
          <a:prstGeom prst="rect">
            <a:avLst/>
          </a:prstGeom>
          <a:solidFill>
            <a:srgbClr val="FFC000">
              <a:alpha val="2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defTabSz="914354">
              <a:defRPr/>
            </a:pPr>
            <a:endParaRPr lang="zh-CN" altLang="en-US" dirty="0">
              <a:solidFill>
                <a:prstClr val="white"/>
              </a:solidFill>
            </a:endParaRPr>
          </a:p>
        </p:txBody>
      </p:sp>
      <p:sp>
        <p:nvSpPr>
          <p:cNvPr id="25" name="PPTShape_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81399" y="91281"/>
            <a:ext cx="6858000" cy="1823641"/>
          </a:xfrm>
          <a:prstGeom prst="rect">
            <a:avLst/>
          </a:prstGeom>
          <a:noFill/>
          <a:ln>
            <a:noFill/>
          </a:ln>
          <a:extLst/>
        </p:spPr>
        <p:txBody>
          <a:bodyPr lIns="91436" tIns="45718" rIns="91436" bIns="45718" anchor="ctr">
            <a:spAutoFit/>
          </a:bodyPr>
          <a:lstStyle/>
          <a:p>
            <a:pPr algn="r" defTabSz="914354">
              <a:defRPr/>
            </a:pPr>
            <a:r>
              <a:rPr lang="en-US" altLang="zh-CN" sz="2300" b="1" i="1" dirty="0">
                <a:solidFill>
                  <a:srgbClr val="FFC000"/>
                </a:solidFill>
                <a:latin typeface="Century Gothic" pitchFamily="34" charset="0"/>
              </a:rPr>
              <a:t>T</a:t>
            </a:r>
            <a:r>
              <a:rPr lang="en-US" altLang="zh-CN" sz="2300" b="1" i="1" dirty="0">
                <a:solidFill>
                  <a:srgbClr val="1F497D"/>
                </a:solidFill>
                <a:latin typeface="Century Gothic" pitchFamily="34" charset="0"/>
              </a:rPr>
              <a:t>raining </a:t>
            </a:r>
            <a:r>
              <a:rPr lang="en-US" altLang="zh-CN" sz="2300" b="1" i="1" dirty="0">
                <a:solidFill>
                  <a:srgbClr val="FFC000"/>
                </a:solidFill>
                <a:latin typeface="Century Gothic" pitchFamily="34" charset="0"/>
              </a:rPr>
              <a:t>M</a:t>
            </a:r>
            <a:r>
              <a:rPr lang="en-US" altLang="zh-CN" sz="2300" b="1" i="1" dirty="0">
                <a:solidFill>
                  <a:srgbClr val="1F497D"/>
                </a:solidFill>
                <a:latin typeface="Century Gothic" pitchFamily="34" charset="0"/>
              </a:rPr>
              <a:t>oments</a:t>
            </a:r>
          </a:p>
          <a:p>
            <a:pPr algn="r" defTabSz="914354">
              <a:defRPr/>
            </a:pPr>
            <a:r>
              <a:rPr lang="zh-CN" altLang="en-US" sz="2300" b="1" spc="600" dirty="0">
                <a:solidFill>
                  <a:srgbClr val="1F497D"/>
                </a:solidFill>
                <a:latin typeface="微软雅黑" pitchFamily="34" charset="-122"/>
                <a:ea typeface="微软雅黑" pitchFamily="34" charset="-122"/>
              </a:rPr>
              <a:t>培训时刻</a:t>
            </a:r>
            <a:r>
              <a:rPr lang="en-US" altLang="zh-CN" sz="3000" b="1" dirty="0">
                <a:solidFill>
                  <a:srgbClr val="1F497D"/>
                </a:solidFill>
                <a:latin typeface="Century Gothic" pitchFamily="34" charset="0"/>
              </a:rPr>
              <a:t/>
            </a:r>
            <a:br>
              <a:rPr lang="en-US" altLang="zh-CN" sz="3000" b="1" dirty="0">
                <a:solidFill>
                  <a:srgbClr val="1F497D"/>
                </a:solidFill>
                <a:latin typeface="Century Gothic" pitchFamily="34" charset="0"/>
              </a:rPr>
            </a:br>
            <a:r>
              <a:rPr lang="en-US" altLang="zh-CN" sz="2800" b="1" dirty="0">
                <a:solidFill>
                  <a:srgbClr val="1F497D"/>
                </a:solidFill>
                <a:latin typeface="Century Gothic" pitchFamily="34" charset="0"/>
              </a:rPr>
              <a:t/>
            </a:r>
            <a:br>
              <a:rPr lang="en-US" altLang="zh-CN" sz="2800" b="1" dirty="0">
                <a:solidFill>
                  <a:srgbClr val="1F497D"/>
                </a:solidFill>
                <a:latin typeface="Century Gothic" pitchFamily="34" charset="0"/>
              </a:rPr>
            </a:br>
            <a:endParaRPr lang="zh-CN" altLang="zh-CN" sz="3800" b="1" dirty="0">
              <a:solidFill>
                <a:srgbClr val="1F497D"/>
              </a:solidFill>
              <a:latin typeface="Century Gothic" pitchFamily="34" charset="0"/>
            </a:endParaRPr>
          </a:p>
        </p:txBody>
      </p:sp>
      <p:cxnSp>
        <p:nvCxnSpPr>
          <p:cNvPr id="31" name="Straight Connector 12"/>
          <p:cNvCxnSpPr/>
          <p:nvPr/>
        </p:nvCxnSpPr>
        <p:spPr>
          <a:xfrm>
            <a:off x="152797" y="4919266"/>
            <a:ext cx="8595321" cy="0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13"/>
          <p:cNvCxnSpPr/>
          <p:nvPr/>
        </p:nvCxnSpPr>
        <p:spPr>
          <a:xfrm>
            <a:off x="152797" y="4862711"/>
            <a:ext cx="8595321" cy="0"/>
          </a:xfrm>
          <a:prstGeom prst="line">
            <a:avLst/>
          </a:prstGeom>
          <a:ln w="28575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21"/>
          <p:cNvCxnSpPr/>
          <p:nvPr/>
        </p:nvCxnSpPr>
        <p:spPr>
          <a:xfrm flipV="1">
            <a:off x="457399" y="1113234"/>
            <a:ext cx="0" cy="3977680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22"/>
          <p:cNvCxnSpPr/>
          <p:nvPr/>
        </p:nvCxnSpPr>
        <p:spPr>
          <a:xfrm>
            <a:off x="533797" y="1113234"/>
            <a:ext cx="0" cy="3977680"/>
          </a:xfrm>
          <a:prstGeom prst="line">
            <a:avLst/>
          </a:prstGeom>
          <a:ln w="28575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593" name="TextBox 40"/>
          <p:cNvSpPr txBox="1">
            <a:spLocks noChangeArrowheads="1"/>
          </p:cNvSpPr>
          <p:nvPr/>
        </p:nvSpPr>
        <p:spPr bwMode="auto">
          <a:xfrm>
            <a:off x="635993" y="3030204"/>
            <a:ext cx="2486422" cy="1446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14605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14605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en-US" altLang="zh-CN" sz="1100" b="1" dirty="0">
                <a:latin typeface="Georgia" pitchFamily="18" charset="0"/>
                <a:ea typeface="汉仪中宋简" pitchFamily="49" charset="-122"/>
              </a:rPr>
              <a:t>Plenty of training brought extremely exceptional St. Regis  experience to all students. To let them more comprehensively gain hotel knowledge and skills.</a:t>
            </a:r>
          </a:p>
          <a:p>
            <a:pPr algn="just"/>
            <a:r>
              <a:rPr lang="zh-CN" altLang="en-US" sz="1100" b="1" dirty="0">
                <a:latin typeface="Sabon LT Std" pitchFamily="18" charset="0"/>
                <a:ea typeface="汉仪中宋简" pitchFamily="49" charset="-122"/>
              </a:rPr>
              <a:t>丰富的培训为同学们带来全新的瑞吉体验，更全面的了解到酒店工作，并掌握了必备的专业技能。</a:t>
            </a:r>
            <a:endParaRPr lang="zh-CN" altLang="en-US" sz="1100" dirty="0"/>
          </a:p>
        </p:txBody>
      </p:sp>
      <p:sp>
        <p:nvSpPr>
          <p:cNvPr id="67594" name="TextBox 1"/>
          <p:cNvSpPr txBox="1">
            <a:spLocks noChangeArrowheads="1"/>
          </p:cNvSpPr>
          <p:nvPr/>
        </p:nvSpPr>
        <p:spPr bwMode="auto">
          <a:xfrm>
            <a:off x="340321" y="235149"/>
            <a:ext cx="5542359" cy="765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150" tIns="28575" rIns="57150" bIns="28575">
            <a:spAutoFit/>
          </a:bodyPr>
          <a:lstStyle>
            <a:lvl1pPr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en-US" altLang="zh-CN" sz="2300" dirty="0" err="1">
                <a:latin typeface="Georgia" pitchFamily="18" charset="0"/>
                <a:ea typeface="汉仪中宋简" pitchFamily="49" charset="-122"/>
              </a:rPr>
              <a:t>TakeCare</a:t>
            </a:r>
            <a:r>
              <a:rPr lang="en-US" altLang="zh-CN" sz="2300" dirty="0">
                <a:latin typeface="Georgia" pitchFamily="18" charset="0"/>
                <a:ea typeface="汉仪中宋简" pitchFamily="49" charset="-122"/>
              </a:rPr>
              <a:t> of </a:t>
            </a:r>
            <a:r>
              <a:rPr lang="en-US" altLang="zh-CN" sz="2300" dirty="0" smtClean="0">
                <a:latin typeface="Georgia" pitchFamily="18" charset="0"/>
                <a:ea typeface="汉仪中宋简" pitchFamily="49" charset="-122"/>
              </a:rPr>
              <a:t>ME</a:t>
            </a:r>
            <a:endParaRPr lang="en-US" altLang="zh-CN" sz="2300" dirty="0">
              <a:latin typeface="Georgia" pitchFamily="18" charset="0"/>
              <a:ea typeface="汉仪中宋简" pitchFamily="49" charset="-122"/>
            </a:endParaRPr>
          </a:p>
          <a:p>
            <a:r>
              <a:rPr lang="zh-CN" altLang="en-US" sz="2300" dirty="0">
                <a:latin typeface="Georgia" pitchFamily="18" charset="0"/>
                <a:ea typeface="汉仪中宋简" pitchFamily="49" charset="-122"/>
              </a:rPr>
              <a:t>关爱我自己</a:t>
            </a:r>
          </a:p>
        </p:txBody>
      </p:sp>
      <p:pic>
        <p:nvPicPr>
          <p:cNvPr id="67595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821" y="2907109"/>
            <a:ext cx="2616398" cy="174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596" name="Picture 1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774" y="1061641"/>
            <a:ext cx="2619375" cy="174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7597" name="Picture 2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24774" y="2915213"/>
            <a:ext cx="2593578" cy="1729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8" name="Picture 22" descr="D:\1. Louis Li\------------Others--------------\2018年会\2018年会\Video\图片6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90" y="1061641"/>
            <a:ext cx="2668984" cy="17452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99" name="Picture 2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821" y="1061641"/>
            <a:ext cx="2617391" cy="174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695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3" descr="E:\Melody\Photos\2015-03-05 Intern Graduation\IMG_168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83" t="3940" r="9229" b="14664"/>
          <a:stretch>
            <a:fillRect/>
          </a:stretch>
        </p:blipFill>
        <p:spPr bwMode="auto">
          <a:xfrm>
            <a:off x="3030141" y="993180"/>
            <a:ext cx="3006328" cy="186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5" name="Picture 5" descr="IMG_1135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38"/>
          <a:stretch>
            <a:fillRect/>
          </a:stretch>
        </p:blipFill>
        <p:spPr bwMode="auto">
          <a:xfrm>
            <a:off x="341313" y="990204"/>
            <a:ext cx="2530078" cy="1863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6" name="Picture 6" descr="IMG_1151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7" t="24715" r="8833"/>
          <a:stretch>
            <a:fillRect/>
          </a:stretch>
        </p:blipFill>
        <p:spPr bwMode="auto">
          <a:xfrm>
            <a:off x="341312" y="2931915"/>
            <a:ext cx="3373438" cy="2025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7" name="Picture 8" descr="IMG_1255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32" t="22679" r="27473" b="10197"/>
          <a:stretch>
            <a:fillRect/>
          </a:stretch>
        </p:blipFill>
        <p:spPr bwMode="auto">
          <a:xfrm>
            <a:off x="3808016" y="2931915"/>
            <a:ext cx="2070696" cy="2025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8" name="Picture 9"/>
          <p:cNvPicPr preferRelativeResize="0"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56713" y="990204"/>
            <a:ext cx="2506287" cy="186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9" name="Picture 12" descr="IMG_1152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9" r="4509"/>
          <a:stretch>
            <a:fillRect/>
          </a:stretch>
        </p:blipFill>
        <p:spPr bwMode="auto">
          <a:xfrm>
            <a:off x="5971977" y="2931915"/>
            <a:ext cx="2786063" cy="2025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640" name="TextBox 1"/>
          <p:cNvSpPr txBox="1">
            <a:spLocks noChangeArrowheads="1"/>
          </p:cNvSpPr>
          <p:nvPr/>
        </p:nvSpPr>
        <p:spPr bwMode="auto">
          <a:xfrm>
            <a:off x="340321" y="235149"/>
            <a:ext cx="5542359" cy="765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150" tIns="28575" rIns="57150" bIns="28575">
            <a:spAutoFit/>
          </a:bodyPr>
          <a:lstStyle>
            <a:lvl1pPr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en-US" altLang="zh-CN" sz="2300" dirty="0" err="1">
                <a:latin typeface="Georgia" pitchFamily="18" charset="0"/>
                <a:ea typeface="汉仪中宋简" pitchFamily="49" charset="-122"/>
              </a:rPr>
              <a:t>TakeCare</a:t>
            </a:r>
            <a:r>
              <a:rPr lang="en-US" altLang="zh-CN" sz="2300" dirty="0">
                <a:latin typeface="Georgia" pitchFamily="18" charset="0"/>
                <a:ea typeface="汉仪中宋简" pitchFamily="49" charset="-122"/>
              </a:rPr>
              <a:t> of </a:t>
            </a:r>
            <a:r>
              <a:rPr lang="en-US" altLang="zh-CN" sz="2300" dirty="0" smtClean="0">
                <a:latin typeface="Georgia" pitchFamily="18" charset="0"/>
                <a:ea typeface="汉仪中宋简" pitchFamily="49" charset="-122"/>
              </a:rPr>
              <a:t>YOU+ME </a:t>
            </a:r>
            <a:endParaRPr lang="en-US" altLang="zh-CN" sz="2300" dirty="0">
              <a:latin typeface="Georgia" pitchFamily="18" charset="0"/>
              <a:ea typeface="汉仪中宋简" pitchFamily="49" charset="-122"/>
            </a:endParaRPr>
          </a:p>
          <a:p>
            <a:r>
              <a:rPr lang="zh-CN" altLang="en-US" sz="2300" dirty="0">
                <a:latin typeface="Georgia" pitchFamily="18" charset="0"/>
                <a:ea typeface="汉仪中宋简" pitchFamily="49" charset="-122"/>
              </a:rPr>
              <a:t>关</a:t>
            </a:r>
            <a:r>
              <a:rPr lang="zh-CN" altLang="en-US" sz="2300" dirty="0" smtClean="0">
                <a:latin typeface="Georgia" pitchFamily="18" charset="0"/>
                <a:ea typeface="汉仪中宋简" pitchFamily="49" charset="-122"/>
              </a:rPr>
              <a:t>爱你</a:t>
            </a:r>
            <a:r>
              <a:rPr lang="en-US" altLang="zh-CN" sz="2300" dirty="0" smtClean="0">
                <a:latin typeface="Georgia" pitchFamily="18" charset="0"/>
                <a:ea typeface="汉仪中宋简" pitchFamily="49" charset="-122"/>
              </a:rPr>
              <a:t>+</a:t>
            </a:r>
            <a:r>
              <a:rPr lang="zh-CN" altLang="en-US" sz="2300" dirty="0" smtClean="0">
                <a:latin typeface="Georgia" pitchFamily="18" charset="0"/>
                <a:ea typeface="汉仪中宋简" pitchFamily="49" charset="-122"/>
              </a:rPr>
              <a:t>我</a:t>
            </a:r>
            <a:endParaRPr lang="zh-CN" altLang="en-US" sz="2300" dirty="0">
              <a:latin typeface="Georgia" pitchFamily="18" charset="0"/>
              <a:ea typeface="汉仪中宋简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908126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1" name="TextBox 3"/>
          <p:cNvSpPr txBox="1">
            <a:spLocks noChangeArrowheads="1"/>
          </p:cNvSpPr>
          <p:nvPr/>
        </p:nvSpPr>
        <p:spPr bwMode="auto">
          <a:xfrm>
            <a:off x="560586" y="1631156"/>
            <a:ext cx="3235388" cy="749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6221" tIns="28033" rIns="56221" bIns="28033">
            <a:spAutoFit/>
          </a:bodyPr>
          <a:lstStyle>
            <a:lvl1pPr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defRPr/>
            </a:pPr>
            <a:r>
              <a:rPr lang="en-US" altLang="zh-CN" sz="4500" b="1" dirty="0">
                <a:solidFill>
                  <a:schemeClr val="bg1"/>
                </a:solidFill>
                <a:latin typeface="+mj-lt"/>
              </a:rPr>
              <a:t>Thank you</a:t>
            </a:r>
            <a:endParaRPr lang="zh-CN" altLang="en-US" sz="45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" name="Picture Placeholder 8" descr="str3651ex-118958-Exterior at night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22" r="11111" b="32151"/>
          <a:stretch/>
        </p:blipFill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560587" y="1631157"/>
            <a:ext cx="3232984" cy="749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6221" tIns="28033" rIns="56221" bIns="28033">
            <a:spAutoFit/>
          </a:bodyPr>
          <a:lstStyle>
            <a:lvl1pPr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defRPr/>
            </a:pPr>
            <a:r>
              <a:rPr lang="en-US" altLang="zh-CN" sz="4500" b="1" dirty="0" smtClean="0">
                <a:solidFill>
                  <a:schemeClr val="bg1"/>
                </a:solidFill>
                <a:latin typeface="+mj-lt"/>
              </a:rPr>
              <a:t>Thank you</a:t>
            </a:r>
            <a:endParaRPr lang="zh-CN" altLang="en-US" sz="45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9811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15&quot;/&gt;&lt;lineCharCount val=&quot;15&quot;/&gt;&lt;lineCharCount val=&quot;1&quot;/&gt;&lt;lineCharCount val=&quot;12&quot;/&gt;&lt;lineCharCount val=&quot;13&quot;/&gt;&lt;lineCharCount val=&quot;14&quot;/&gt;&lt;/TableIndex&gt;&lt;/ShapeTextInfo&gt;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22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St. Regis Template">
  <a:themeElements>
    <a:clrScheme name="St. Regis Color Palette updated 9-16-16">
      <a:dk1>
        <a:srgbClr val="000000"/>
      </a:dk1>
      <a:lt1>
        <a:sysClr val="window" lastClr="FFFFFF"/>
      </a:lt1>
      <a:dk2>
        <a:srgbClr val="635D59"/>
      </a:dk2>
      <a:lt2>
        <a:srgbClr val="FFFFFF"/>
      </a:lt2>
      <a:accent1>
        <a:srgbClr val="A9A9A9"/>
      </a:accent1>
      <a:accent2>
        <a:srgbClr val="FD5E56"/>
      </a:accent2>
      <a:accent3>
        <a:srgbClr val="635D59"/>
      </a:accent3>
      <a:accent4>
        <a:srgbClr val="F8B2AE"/>
      </a:accent4>
      <a:accent5>
        <a:srgbClr val="C9AB5D"/>
      </a:accent5>
      <a:accent6>
        <a:srgbClr val="5EA39A"/>
      </a:accent6>
      <a:hlink>
        <a:srgbClr val="DECEA2"/>
      </a:hlink>
      <a:folHlink>
        <a:srgbClr val="B4D5D0"/>
      </a:folHlink>
    </a:clrScheme>
    <a:fontScheme name="自定义 1">
      <a:majorFont>
        <a:latin typeface="Georgia"/>
        <a:ea typeface="汉仪中宋简"/>
        <a:cs typeface=""/>
      </a:majorFont>
      <a:minorFont>
        <a:latin typeface="Georgia"/>
        <a:ea typeface="汉仪中宋简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00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06</TotalTime>
  <Words>607</Words>
  <Application>Microsoft Office PowerPoint</Application>
  <PresentationFormat>On-screen Show (16:9)</PresentationFormat>
  <Paragraphs>53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Helvetica Light</vt:lpstr>
      <vt:lpstr>Sabon LT Std</vt:lpstr>
      <vt:lpstr>St Regis Sabon Pro Bold</vt:lpstr>
      <vt:lpstr>汉仪中宋简</vt:lpstr>
      <vt:lpstr>宋体</vt:lpstr>
      <vt:lpstr>微软雅黑</vt:lpstr>
      <vt:lpstr>Arial</vt:lpstr>
      <vt:lpstr>Calibri</vt:lpstr>
      <vt:lpstr>Century Gothic</vt:lpstr>
      <vt:lpstr>Georgia</vt:lpstr>
      <vt:lpstr>Roos St Regis Display</vt:lpstr>
      <vt:lpstr>Suisse Int'l</vt:lpstr>
      <vt:lpstr>22_White</vt:lpstr>
      <vt:lpstr>St. Regis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, Dylan</dc:creator>
  <cp:lastModifiedBy>Cao, Candice</cp:lastModifiedBy>
  <cp:revision>134</cp:revision>
  <dcterms:created xsi:type="dcterms:W3CDTF">2006-08-16T00:00:00Z</dcterms:created>
  <dcterms:modified xsi:type="dcterms:W3CDTF">2019-12-03T12:09:30Z</dcterms:modified>
</cp:coreProperties>
</file>